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684" r:id="rId5"/>
  </p:sldMasterIdLst>
  <p:notesMasterIdLst>
    <p:notesMasterId r:id="rId23"/>
  </p:notesMasterIdLst>
  <p:sldIdLst>
    <p:sldId id="256" r:id="rId6"/>
    <p:sldId id="324" r:id="rId7"/>
    <p:sldId id="280" r:id="rId8"/>
    <p:sldId id="283" r:id="rId9"/>
    <p:sldId id="305" r:id="rId10"/>
    <p:sldId id="363" r:id="rId11"/>
    <p:sldId id="364" r:id="rId12"/>
    <p:sldId id="361" r:id="rId13"/>
    <p:sldId id="365" r:id="rId14"/>
    <p:sldId id="366" r:id="rId15"/>
    <p:sldId id="367" r:id="rId16"/>
    <p:sldId id="362" r:id="rId17"/>
    <p:sldId id="368" r:id="rId18"/>
    <p:sldId id="372" r:id="rId19"/>
    <p:sldId id="373" r:id="rId20"/>
    <p:sldId id="369" r:id="rId21"/>
    <p:sldId id="371" r:id="rId22"/>
  </p:sldIdLst>
  <p:sldSz cx="12192000" cy="6858000"/>
  <p:notesSz cx="7104063" cy="1023461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2029" autoAdjust="0"/>
  </p:normalViewPr>
  <p:slideViewPr>
    <p:cSldViewPr snapToGrid="0">
      <p:cViewPr varScale="1">
        <p:scale>
          <a:sx n="119" d="100"/>
          <a:sy n="119" d="100"/>
        </p:scale>
        <p:origin x="96" y="3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9378A75F-2924-419E-A2B9-0B6F81294D43}" type="datetimeFigureOut">
              <a:rPr lang="zh-CN" altLang="en-US" smtClean="0"/>
              <a:t>2023/3/2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38863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245FDEC2-DF3E-4D08-A694-69CAF3C4281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1074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2600" y="1279525"/>
            <a:ext cx="6138863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5FDEC2-DF3E-4D08-A694-69CAF3C42812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342845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67443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228989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866932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-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CB985E58-73E2-B29E-A012-2F63CE235319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33E72B6-CD3E-AC98-4643-9EE1A95560DD}"/>
              </a:ext>
            </a:extLst>
          </p:cNvPr>
          <p:cNvSpPr/>
          <p:nvPr userDrawn="1"/>
        </p:nvSpPr>
        <p:spPr>
          <a:xfrm>
            <a:off x="3052799" y="571499"/>
            <a:ext cx="8120025" cy="57134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85B4324-9483-AD08-A73D-10755027B2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6842" y="1117068"/>
            <a:ext cx="2299114" cy="120609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73DD7CD-320F-0C40-8320-F1C3F4BB0C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1601" y="571499"/>
            <a:ext cx="4043702" cy="5713413"/>
          </a:xfrm>
        </p:spPr>
        <p:txBody>
          <a:bodyPr anchor="ctr"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2095E5C9-E920-0580-7ADC-22B0168C4F7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9192" y="3999600"/>
            <a:ext cx="2034000" cy="2286000"/>
          </a:xfrm>
        </p:spPr>
        <p:txBody>
          <a:bodyPr anchor="ctr"/>
          <a:lstStyle>
            <a:lvl1pPr marL="0" indent="0" algn="ctr">
              <a:buNone/>
              <a:defRPr sz="1200"/>
            </a:lvl1pPr>
            <a:lvl2pPr marL="385200" indent="0" algn="ctr">
              <a:buNone/>
              <a:defRPr sz="1200"/>
            </a:lvl2pPr>
            <a:lvl3pPr marL="385200" indent="0" algn="ctr">
              <a:buNone/>
              <a:defRPr sz="1200"/>
            </a:lvl3pPr>
            <a:lvl4pPr marL="385200" indent="0" algn="ctr">
              <a:buNone/>
              <a:defRPr sz="1200"/>
            </a:lvl4pPr>
            <a:lvl5pPr marL="385200" indent="0" algn="ctr">
              <a:buNone/>
              <a:defRPr sz="1200"/>
            </a:lvl5pPr>
          </a:lstStyle>
          <a:p>
            <a:pPr lvl="0"/>
            <a:r>
              <a:rPr lang="de-DE" dirty="0"/>
              <a:t>Optional: Klinik, Zentrum, Arbeits-/Sonderbereich etc.</a:t>
            </a:r>
          </a:p>
        </p:txBody>
      </p:sp>
    </p:spTree>
    <p:extLst>
      <p:ext uri="{BB962C8B-B14F-4D97-AF65-F5344CB8AC3E}">
        <p14:creationId xmlns:p14="http://schemas.microsoft.com/office/powerpoint/2010/main" val="16148307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0571E57-C458-55AD-34AF-B33955A2430E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0A57A1D-B3B0-3969-AC3D-731633954FBC}"/>
              </a:ext>
            </a:extLst>
          </p:cNvPr>
          <p:cNvSpPr/>
          <p:nvPr userDrawn="1"/>
        </p:nvSpPr>
        <p:spPr>
          <a:xfrm>
            <a:off x="3052799" y="571499"/>
            <a:ext cx="8120025" cy="57134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8D16AE1-35A6-C2DD-949A-525C689812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6842" y="1117068"/>
            <a:ext cx="2299114" cy="120609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A93F957-EFA0-B9BA-15DE-03D8D4868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1600" y="3430800"/>
            <a:ext cx="6850400" cy="2854112"/>
          </a:xfrm>
        </p:spPr>
        <p:txBody>
          <a:bodyPr anchor="ctr"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823D32A-F323-5163-FE79-469CF35E8F2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052763" y="571500"/>
            <a:ext cx="8120062" cy="2857500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ier können Sie Ihr Bild einfügen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48CA5AF-CEDE-3E1B-57D8-4973FFB367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58275" y="3427200"/>
            <a:ext cx="3024000" cy="378000"/>
          </a:xfrm>
          <a:solidFill>
            <a:schemeClr val="accent1"/>
          </a:solidFill>
        </p:spPr>
        <p:txBody>
          <a:bodyPr lIns="108000" tIns="3600" rIns="90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Rubrik (einzeilig, max. 32 Zeichen)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1402C4B-8E48-A60C-F353-2071129B4D8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8000" y="3999600"/>
            <a:ext cx="2034000" cy="2286000"/>
          </a:xfrm>
        </p:spPr>
        <p:txBody>
          <a:bodyPr anchor="ctr"/>
          <a:lstStyle>
            <a:lvl1pPr marL="0" indent="0" algn="ctr">
              <a:buNone/>
              <a:defRPr sz="1200"/>
            </a:lvl1pPr>
            <a:lvl2pPr marL="385200" indent="0" algn="ctr">
              <a:buNone/>
              <a:defRPr sz="1200"/>
            </a:lvl2pPr>
            <a:lvl3pPr marL="385200" indent="0" algn="ctr">
              <a:buNone/>
              <a:defRPr sz="1200"/>
            </a:lvl3pPr>
            <a:lvl4pPr marL="385200" indent="0" algn="ctr">
              <a:buNone/>
              <a:defRPr sz="1200"/>
            </a:lvl4pPr>
            <a:lvl5pPr marL="385200" indent="0" algn="ctr">
              <a:buNone/>
              <a:defRPr sz="1200"/>
            </a:lvl5pPr>
          </a:lstStyle>
          <a:p>
            <a:pPr lvl="0"/>
            <a:r>
              <a:rPr lang="de-DE" dirty="0"/>
              <a:t>Optional: Klinik, Zentrum, Arbeits-/Sonderbereich etc.</a:t>
            </a:r>
          </a:p>
        </p:txBody>
      </p:sp>
    </p:spTree>
    <p:extLst>
      <p:ext uri="{BB962C8B-B14F-4D97-AF65-F5344CB8AC3E}">
        <p14:creationId xmlns:p14="http://schemas.microsoft.com/office/powerpoint/2010/main" val="3152882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855FC450-CD34-DEE9-370E-65BEC309F95B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47A77F4-73B3-E7E5-A5F5-29BD29C11B5F}"/>
              </a:ext>
            </a:extLst>
          </p:cNvPr>
          <p:cNvSpPr/>
          <p:nvPr userDrawn="1"/>
        </p:nvSpPr>
        <p:spPr>
          <a:xfrm>
            <a:off x="3052799" y="571499"/>
            <a:ext cx="8120025" cy="57134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1BA88333-F35F-A682-4E4D-FF3A78AAFF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6842" y="1117068"/>
            <a:ext cx="2299114" cy="1206092"/>
          </a:xfrm>
          <a:prstGeom prst="rect">
            <a:avLst/>
          </a:prstGeom>
        </p:spPr>
      </p:pic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BE102CB0-FCED-9F61-3872-C4A5486624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119650" y="571500"/>
            <a:ext cx="3052800" cy="5713413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de-DE" dirty="0"/>
              <a:t>Hier können Sie Ihr Bild einfügen.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CD8D707-9637-3F2E-E607-A42376E448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2352" y="3429000"/>
            <a:ext cx="3024111" cy="2855912"/>
          </a:xfrm>
        </p:spPr>
        <p:txBody>
          <a:bodyPr anchor="ctr"/>
          <a:lstStyle>
            <a:lvl1pPr>
              <a:spcAft>
                <a:spcPts val="1200"/>
              </a:spcAft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6D177B2F-68C9-2898-8703-A92B47DA6D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8000" y="4000500"/>
            <a:ext cx="2034000" cy="2286000"/>
          </a:xfrm>
        </p:spPr>
        <p:txBody>
          <a:bodyPr anchor="ctr"/>
          <a:lstStyle>
            <a:lvl1pPr marL="0" indent="0" algn="ctr">
              <a:buNone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Optional: Klinik, Zentrum, Arbeits-/Sonderbereich etc.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A966FAA7-9334-DDA4-5182-77704DDCB25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1252" y="3431378"/>
            <a:ext cx="3024000" cy="378000"/>
          </a:xfrm>
          <a:solidFill>
            <a:schemeClr val="accent1"/>
          </a:solidFill>
        </p:spPr>
        <p:txBody>
          <a:bodyPr lIns="108000" tIns="3600" rIns="90000" anchor="ctr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385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385200" indent="0">
              <a:buFontTx/>
              <a:buNone/>
              <a:defRPr>
                <a:solidFill>
                  <a:schemeClr val="bg1"/>
                </a:solidFill>
              </a:defRPr>
            </a:lvl3pPr>
            <a:lvl4pPr marL="385200" indent="0">
              <a:buFontTx/>
              <a:buNone/>
              <a:defRPr>
                <a:solidFill>
                  <a:schemeClr val="bg1"/>
                </a:solidFill>
              </a:defRPr>
            </a:lvl4pPr>
            <a:lvl5pPr marL="3852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Rubrik (einzeilig, max. 32 Zeichen)</a:t>
            </a:r>
          </a:p>
        </p:txBody>
      </p:sp>
    </p:spTree>
    <p:extLst>
      <p:ext uri="{BB962C8B-B14F-4D97-AF65-F5344CB8AC3E}">
        <p14:creationId xmlns:p14="http://schemas.microsoft.com/office/powerpoint/2010/main" val="3662355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6ECB30C2-EF93-3E6F-378A-1A690BDC7B33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32ABF63-E2BC-8509-C80F-4F329E0273CD}"/>
              </a:ext>
            </a:extLst>
          </p:cNvPr>
          <p:cNvSpPr/>
          <p:nvPr userDrawn="1"/>
        </p:nvSpPr>
        <p:spPr>
          <a:xfrm>
            <a:off x="3052799" y="571499"/>
            <a:ext cx="8120025" cy="57134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E7F0B71-AB37-1720-1B52-052F95B6B7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6842" y="1117068"/>
            <a:ext cx="2299114" cy="120609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A60F7D6-1489-B722-33B9-4CA3028AC5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28063" y="571500"/>
            <a:ext cx="2035175" cy="5713412"/>
          </a:xfrm>
        </p:spPr>
        <p:txBody>
          <a:bodyPr anchor="ctr"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de-DE" dirty="0"/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615BF2A7-A61F-D256-E994-4C92580C3FE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052799" y="571500"/>
            <a:ext cx="5065678" cy="5713413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de-DE" dirty="0"/>
              <a:t>Hier können Sie Ihr Bild einfügen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1A0859E-A676-619D-977F-F2FD7F0E748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8000" y="3998912"/>
            <a:ext cx="2034000" cy="2286000"/>
          </a:xfr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385200" indent="0">
              <a:buNone/>
              <a:defRPr>
                <a:solidFill>
                  <a:schemeClr val="bg1"/>
                </a:solidFill>
              </a:defRPr>
            </a:lvl2pPr>
            <a:lvl3pPr marL="385200" indent="0">
              <a:buNone/>
              <a:defRPr>
                <a:solidFill>
                  <a:schemeClr val="bg1"/>
                </a:solidFill>
              </a:defRPr>
            </a:lvl3pPr>
            <a:lvl4pPr marL="385200" indent="0">
              <a:buNone/>
              <a:defRPr>
                <a:solidFill>
                  <a:schemeClr val="bg1"/>
                </a:solidFill>
              </a:defRPr>
            </a:lvl4pPr>
            <a:lvl5pPr marL="3852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Optional: Klinik, Zentrum, Arbeits-/Sonderbereich etc.</a:t>
            </a:r>
          </a:p>
        </p:txBody>
      </p:sp>
    </p:spTree>
    <p:extLst>
      <p:ext uri="{BB962C8B-B14F-4D97-AF65-F5344CB8AC3E}">
        <p14:creationId xmlns:p14="http://schemas.microsoft.com/office/powerpoint/2010/main" val="32371983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4AC106-BDF8-CEF1-825B-31168B6ADC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587" y="500444"/>
            <a:ext cx="9136463" cy="4032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Click to edit Master title sty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49C24AF-B323-63B9-86B5-95311227C5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0FF830B-A89E-83C7-F82C-1285D4A79AB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17587" y="1645284"/>
            <a:ext cx="10162800" cy="4064953"/>
          </a:xfrm>
        </p:spPr>
        <p:txBody>
          <a:bodyPr/>
          <a:lstStyle>
            <a:lvl1pPr marL="450000" indent="-450000">
              <a:spcAft>
                <a:spcPts val="300"/>
              </a:spcAft>
              <a:buFont typeface="+mj-lt"/>
              <a:buAutoNum type="arabicPeriod"/>
              <a:defRPr sz="28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9688E9D4-0B6A-B7EA-B556-04FDB5E33C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67667763-4FCA-0EAC-9EC9-2D2373BD29E4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25E98871-4032-17EC-C264-14142C58E0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67482" y="6307118"/>
            <a:ext cx="4114800" cy="25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5"/>
                </a:solidFill>
              </a:defRPr>
            </a:lvl1pPr>
          </a:lstStyle>
          <a:p>
            <a:r>
              <a:rPr lang="de-DE"/>
              <a:t>Oral Diagnostics, Digital Dentistry and Health Services Research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32540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mit/ohne Bild - blau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5EE0B59F-0FAC-80E7-32C9-883237D688B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106250" y="0"/>
            <a:ext cx="5085750" cy="68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Hier können Sie Ihr Bild einfüge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EBC21B9-442B-0912-1EE9-5FE6431557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9588" y="571500"/>
            <a:ext cx="5063738" cy="5713413"/>
          </a:xfrm>
        </p:spPr>
        <p:txBody>
          <a:bodyPr anchor="ctr"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5129527-14BD-A777-C594-8C13A08325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Oral Diagnostics, Digital Dentistry and Health Services Research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EE59A9-B79C-3969-3C29-CE75F90DEC6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A9C953F-34B1-4DD2-A3DB-3A35190EAD1A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585625E-3B01-AE03-E943-5A9E05062F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0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F2B39C79-EFB8-2529-AEEC-B828C9E388D6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62799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Zahl - blau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00BBB59-C568-54F2-A825-AF50E3A6EE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5563" y="1143000"/>
            <a:ext cx="5076000" cy="4567238"/>
          </a:xfrm>
        </p:spPr>
        <p:txBody>
          <a:bodyPr anchor="ctr"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69E999E-1123-5A84-ECEE-64199D8FD7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Oral Diagnostics, Digital Dentistry and Health Services Research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2ADF842-CEC7-2322-A24D-3B4054F244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A9C953F-34B1-4DD2-A3DB-3A35190EAD1A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A13041B-000C-8F57-1585-DD8DF10A23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0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5DC96E62-9AC0-0025-4FCC-C7F0D58E0BAF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0F88E3C-5B38-45B1-089B-E1E0944D9D1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4350" y="1143000"/>
            <a:ext cx="2610000" cy="4567238"/>
          </a:xfrm>
        </p:spPr>
        <p:txBody>
          <a:bodyPr anchor="ctr"/>
          <a:lstStyle>
            <a:lvl1pPr marL="0" indent="0">
              <a:buNone/>
              <a:defRPr sz="20000">
                <a:solidFill>
                  <a:schemeClr val="accent1"/>
                </a:solidFill>
                <a:latin typeface="+mj-lt"/>
              </a:defRPr>
            </a:lvl1pPr>
            <a:lvl2pPr marL="385200" indent="0">
              <a:buNone/>
              <a:defRPr>
                <a:latin typeface="+mj-lt"/>
              </a:defRPr>
            </a:lvl2pPr>
            <a:lvl3pPr marL="385200" indent="0">
              <a:buNone/>
              <a:defRPr>
                <a:latin typeface="+mj-lt"/>
              </a:defRPr>
            </a:lvl3pPr>
            <a:lvl4pPr marL="385200" indent="0">
              <a:buNone/>
              <a:defRPr>
                <a:latin typeface="+mj-lt"/>
              </a:defRPr>
            </a:lvl4pPr>
            <a:lvl5pPr marL="385200" indent="0">
              <a:buNone/>
              <a:defRPr>
                <a:latin typeface="+mj-lt"/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4433178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mit/ohne Bild - grau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7D6B1EF7-ECF9-9550-1571-9474A39D476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106400" y="-1"/>
            <a:ext cx="5086800" cy="6858000"/>
          </a:xfrm>
        </p:spPr>
        <p:txBody>
          <a:bodyPr/>
          <a:lstStyle/>
          <a:p>
            <a:r>
              <a:rPr lang="de-DE" dirty="0"/>
              <a:t>Hier können Sie Ihr Bild einfüge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73B435A-F0F0-AAFB-0962-287FB85E7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9587" y="572400"/>
            <a:ext cx="5065200" cy="5713200"/>
          </a:xfrm>
        </p:spPr>
        <p:txBody>
          <a:bodyPr anchor="ctr" anchorCtr="0"/>
          <a:lstStyle>
            <a:lvl1pPr>
              <a:defRPr sz="3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81A3048-6CA2-FE11-2BAD-29A0D740D4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Oral Diagnostics, Digital Dentistry and Health Services Research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855697A-12F7-8A29-4803-AF33FA8F89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76258C0-1E6D-4F80-59BE-DE6DBDE760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24D3E934-A56D-B0A0-0E43-1E93832657CB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47352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88388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Zahl - grau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E8913EB-0869-8FD7-818F-656297B8FA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400" y="1144800"/>
            <a:ext cx="5076000" cy="4568400"/>
          </a:xfrm>
        </p:spPr>
        <p:txBody>
          <a:bodyPr anchor="ctr"/>
          <a:lstStyle>
            <a:lvl1pPr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7B67A2-DD47-6A0F-FE01-8B18655C6F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Oral Diagnostics, Digital Dentistry and Health Services Research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740F636-3411-DCFD-8E89-ED4AD0B6CB5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AA42F60-AD05-FFA0-A537-C9FE91C84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BA283EBF-73AE-3B48-9E1D-066BAD3BB183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FF456E4-C710-EE0F-D3F1-B36709FBDC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4800" y="1144800"/>
            <a:ext cx="2610000" cy="4568400"/>
          </a:xfrm>
        </p:spPr>
        <p:txBody>
          <a:bodyPr anchor="ctr"/>
          <a:lstStyle>
            <a:lvl1pPr marL="0" indent="0">
              <a:buNone/>
              <a:defRPr sz="20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4540727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F404313-9EBD-E2E8-85A4-8658C545F5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587" y="500444"/>
            <a:ext cx="9136463" cy="40125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1635B3E-A170-D861-DC3E-F4A04609BDE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Oral Diagnostics, Digital Dentistry and Health Services Research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79071E-0EC5-4614-9539-92CECCA887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32881E07-D74B-F675-3F24-47FC0C82607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007999" y="1670400"/>
            <a:ext cx="10162800" cy="40392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1E9CBF8-FE5B-C246-9318-1600559A79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7" y="924815"/>
            <a:ext cx="9136800" cy="246221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Optionaler Untertitel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8BC7A22-A92A-8C27-21AE-A5239F58F0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AD929626-B291-E201-0AE6-463AD95968F5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00547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FB8285-1706-99FE-D645-9A2B07024B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586" y="500444"/>
            <a:ext cx="9136800" cy="4032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7D31DA-7307-1DFC-6137-0E1FDD72E52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Oral Diagnostics, Digital Dentistry and Health Services Research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44444CA-DD99-CF82-AB04-1386AEE9FD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CEB13E3-E4B9-2614-DCF4-B0F8730D78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94F8CC4-A959-4D54-7030-B1D1EA892874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E78F271-951E-29F3-CA6E-C1A7AE43396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008000" y="1670400"/>
            <a:ext cx="4573650" cy="40392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9B1BE3FB-D9B5-0621-7697-E410DA22E54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96062" y="1670400"/>
            <a:ext cx="4575600" cy="40392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E6B3E14-3F88-EBCF-C508-95387CF449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1200" y="925200"/>
            <a:ext cx="9136800" cy="244800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tx2"/>
                </a:solidFill>
                <a:latin typeface="+mj-lt"/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de-DE" dirty="0"/>
              <a:t>Optionaler Untertitel</a:t>
            </a:r>
          </a:p>
        </p:txBody>
      </p:sp>
    </p:spTree>
    <p:extLst>
      <p:ext uri="{BB962C8B-B14F-4D97-AF65-F5344CB8AC3E}">
        <p14:creationId xmlns:p14="http://schemas.microsoft.com/office/powerpoint/2010/main" val="269648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16">
          <p15:clr>
            <a:srgbClr val="FBAE40"/>
          </p15:clr>
        </p15:guide>
        <p15:guide id="2" pos="4163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BA6F73E-DFC4-17D0-E185-4862E18CC5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Oral Diagnostics, Digital Dentistry and Health Services Research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F98ECDE-FBC7-5149-B631-0EBAED7FBB6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5" name="Untertitel">
            <a:extLst>
              <a:ext uri="{FF2B5EF4-FFF2-40B4-BE49-F238E27FC236}">
                <a16:creationId xmlns:a16="http://schemas.microsoft.com/office/drawing/2014/main" id="{5237F277-E0C0-66D9-AE88-3A6FD1CE04F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1200" y="925200"/>
            <a:ext cx="9136063" cy="24480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  <a:latin typeface="+mj-lt"/>
              </a:defRPr>
            </a:lvl1pPr>
            <a:lvl2pPr marL="385200" indent="0">
              <a:buNone/>
              <a:defRPr sz="2000">
                <a:solidFill>
                  <a:schemeClr val="tx2"/>
                </a:solidFill>
                <a:latin typeface="+mj-lt"/>
              </a:defRPr>
            </a:lvl2pPr>
            <a:lvl3pPr marL="385200" indent="0">
              <a:buNone/>
              <a:defRPr sz="2000">
                <a:solidFill>
                  <a:schemeClr val="tx2"/>
                </a:solidFill>
                <a:latin typeface="+mj-lt"/>
              </a:defRPr>
            </a:lvl3pPr>
            <a:lvl4pPr marL="385200" indent="0">
              <a:buNone/>
              <a:defRPr sz="2000">
                <a:solidFill>
                  <a:schemeClr val="tx2"/>
                </a:solidFill>
                <a:latin typeface="+mj-lt"/>
              </a:defRPr>
            </a:lvl4pPr>
            <a:lvl5pPr marL="385200" indent="0">
              <a:buNone/>
              <a:defRPr sz="20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Optionaler Untertitel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D6AABEF3-8209-9E1E-0232-BBD06684FD9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008000" y="1670400"/>
            <a:ext cx="2702716" cy="40392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1346C2B8-C26F-81F0-727C-946A2609B0B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40627" y="1670400"/>
            <a:ext cx="2703600" cy="4038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B8C8072C-305B-3E46-CD43-19567F180AB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464550" y="1670400"/>
            <a:ext cx="2703600" cy="4038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93C1328C-169D-9D33-E81D-2257612635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D0C107BD-C3C5-3F7E-46E4-5E2702D0C34C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el 22">
            <a:extLst>
              <a:ext uri="{FF2B5EF4-FFF2-40B4-BE49-F238E27FC236}">
                <a16:creationId xmlns:a16="http://schemas.microsoft.com/office/drawing/2014/main" id="{30BA5C45-3B5A-B10D-5444-C0DFDB5185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13688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352">
          <p15:clr>
            <a:srgbClr val="FBAE40"/>
          </p15:clr>
        </p15:guide>
        <p15:guide id="2" pos="2986">
          <p15:clr>
            <a:srgbClr val="FBAE40"/>
          </p15:clr>
        </p15:guide>
        <p15:guide id="3" pos="4694">
          <p15:clr>
            <a:srgbClr val="FBAE40"/>
          </p15:clr>
        </p15:guide>
        <p15:guide id="4" pos="5328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er 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3D99F4B-FBED-6C79-35C8-70A2B587BB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17588" y="1720394"/>
            <a:ext cx="2035175" cy="1531980"/>
          </a:xfrm>
        </p:spPr>
        <p:txBody>
          <a:bodyPr tIns="33840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9F46460-6CF7-6006-523C-248D69ECD7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706EABD-6B34-08FC-A53A-31E4B75308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Oral Diagnostics, Digital Dentistry and Health Services Research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45A39AC-B565-603B-F788-DF4DC1314F1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B5EBF49-362C-41B2-D79E-BFFBDFC73B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17588" y="1720394"/>
            <a:ext cx="270000" cy="270000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  <a:latin typeface="Charité Text Office Medium" pitchFamily="2" charset="0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9F55F8BD-FFD6-5394-E2A2-0BBAB3A2A4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23746" y="1720394"/>
            <a:ext cx="2035175" cy="1533600"/>
          </a:xfrm>
        </p:spPr>
        <p:txBody>
          <a:bodyPr tIns="33840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17" name="Textplatzhalter 14">
            <a:extLst>
              <a:ext uri="{FF2B5EF4-FFF2-40B4-BE49-F238E27FC236}">
                <a16:creationId xmlns:a16="http://schemas.microsoft.com/office/drawing/2014/main" id="{5AE3EF26-CF8A-C653-7EA5-B92FF0C2ED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29904" y="1720394"/>
            <a:ext cx="2035175" cy="1533600"/>
          </a:xfrm>
        </p:spPr>
        <p:txBody>
          <a:bodyPr tIns="33840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0BA58826-1951-E46E-DB68-3224162EB8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36062" y="1720394"/>
            <a:ext cx="2035175" cy="1533600"/>
          </a:xfrm>
        </p:spPr>
        <p:txBody>
          <a:bodyPr tIns="33840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BC9D7961-FFD7-348F-902B-D93F952E5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89FC299C-B82C-4B31-CB60-839938A8D8A2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D0B3D105-9F14-D5A6-9933-9E01C366DE5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18763" y="3611592"/>
            <a:ext cx="2034000" cy="1533600"/>
          </a:xfrm>
        </p:spPr>
        <p:txBody>
          <a:bodyPr tIns="33840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C1927BA1-7742-0897-C6DF-95CF2964DB7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22400" y="3611592"/>
            <a:ext cx="2034000" cy="1533600"/>
          </a:xfrm>
        </p:spPr>
        <p:txBody>
          <a:bodyPr tIns="33840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0BBC978F-E89F-793F-BB70-92CAA989D2D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29375" y="3611592"/>
            <a:ext cx="2034000" cy="1533600"/>
          </a:xfrm>
        </p:spPr>
        <p:txBody>
          <a:bodyPr tIns="33840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4AB36E7A-D7E8-0728-877B-8DD7CBFE9CF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136062" y="3611592"/>
            <a:ext cx="2034000" cy="1533600"/>
          </a:xfrm>
        </p:spPr>
        <p:txBody>
          <a:bodyPr tIns="33840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B439D542-CA4B-FE32-E7A5-D2369E83D2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22400" y="1720394"/>
            <a:ext cx="270000" cy="270000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Charité Text Office Medium" pitchFamily="2" charset="0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57E9B3F6-6713-EEA1-85FC-99758540332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17588" y="3611592"/>
            <a:ext cx="270000" cy="270000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Charité Text Office Medium" pitchFamily="2" charset="0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FEB9A5F2-71F6-772D-EE5C-521091D5BC5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29600" y="1720394"/>
            <a:ext cx="270000" cy="270000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Charité Text Office Medium" pitchFamily="2" charset="0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4EB44CED-85DA-2D20-B06D-675D3982171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22400" y="3611592"/>
            <a:ext cx="270000" cy="270000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Charité Text Office Medium" pitchFamily="2" charset="0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41" name="Textplatzhalter 40">
            <a:extLst>
              <a:ext uri="{FF2B5EF4-FFF2-40B4-BE49-F238E27FC236}">
                <a16:creationId xmlns:a16="http://schemas.microsoft.com/office/drawing/2014/main" id="{5BD4ECCA-FC88-90CB-A5E0-6ABFE147CA5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37650" y="1720394"/>
            <a:ext cx="270000" cy="270000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Charité Text Office Medium" pitchFamily="2" charset="0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8C09F7CA-2A66-6759-084E-9F600D9EBFE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37650" y="3611592"/>
            <a:ext cx="270000" cy="270000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Charité Text Office Medium" pitchFamily="2" charset="0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45" name="Textplatzhalter 44">
            <a:extLst>
              <a:ext uri="{FF2B5EF4-FFF2-40B4-BE49-F238E27FC236}">
                <a16:creationId xmlns:a16="http://schemas.microsoft.com/office/drawing/2014/main" id="{E0BBB7F6-AF25-91C1-05CA-408BE7B0F83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429600" y="3611592"/>
            <a:ext cx="270000" cy="270000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Charité Text Office Medium" pitchFamily="2" charset="0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F20A98A4-7467-206D-E5B1-C72A2ED372A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1200" y="925200"/>
            <a:ext cx="9136800" cy="24480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  <a:latin typeface="+mj-lt"/>
              </a:defRPr>
            </a:lvl1pPr>
            <a:lvl2pPr marL="385200" indent="0">
              <a:buNone/>
              <a:defRPr/>
            </a:lvl2pPr>
            <a:lvl3pPr marL="385200" indent="0">
              <a:buNone/>
              <a:defRPr/>
            </a:lvl3pPr>
            <a:lvl4pPr marL="385200" indent="0">
              <a:buNone/>
              <a:defRPr/>
            </a:lvl4pPr>
            <a:lvl5pPr marL="385200" indent="0">
              <a:buNone/>
              <a:defRPr/>
            </a:lvl5pPr>
          </a:lstStyle>
          <a:p>
            <a:pPr lvl="0"/>
            <a:r>
              <a:rPr lang="de-DE" dirty="0"/>
              <a:t>Optionaler Untertitel</a:t>
            </a:r>
          </a:p>
        </p:txBody>
      </p:sp>
    </p:spTree>
    <p:extLst>
      <p:ext uri="{BB962C8B-B14F-4D97-AF65-F5344CB8AC3E}">
        <p14:creationId xmlns:p14="http://schemas.microsoft.com/office/powerpoint/2010/main" val="1765422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91">
          <p15:clr>
            <a:srgbClr val="FBAE40"/>
          </p15:clr>
        </p15:guide>
        <p15:guide id="2" orient="horz" pos="2275">
          <p15:clr>
            <a:srgbClr val="FBAE40"/>
          </p15:clr>
        </p15:guide>
        <p15:guide id="3" pos="1923">
          <p15:clr>
            <a:srgbClr val="FBAE40"/>
          </p15:clr>
        </p15:guide>
        <p15:guide id="4" pos="2345">
          <p15:clr>
            <a:srgbClr val="FBAE40"/>
          </p15:clr>
        </p15:guide>
        <p15:guide id="5" pos="3630">
          <p15:clr>
            <a:srgbClr val="FBAE40"/>
          </p15:clr>
        </p15:guide>
        <p15:guide id="6" pos="4050">
          <p15:clr>
            <a:srgbClr val="FBAE40"/>
          </p15:clr>
        </p15:guide>
        <p15:guide id="7" pos="5756">
          <p15:clr>
            <a:srgbClr val="FBAE40"/>
          </p15:clr>
        </p15:guide>
        <p15:guide id="8" pos="533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rechts -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F1F45816-AC38-941C-8642-361448D9E08E}"/>
              </a:ext>
            </a:extLst>
          </p:cNvPr>
          <p:cNvSpPr/>
          <p:nvPr userDrawn="1"/>
        </p:nvSpPr>
        <p:spPr>
          <a:xfrm>
            <a:off x="8127600" y="0"/>
            <a:ext cx="4064400" cy="51408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72000" rIns="126000" bIns="72000" rtlCol="0" anchor="t">
            <a:noAutofit/>
          </a:bodyPr>
          <a:lstStyle/>
          <a:p>
            <a:pPr algn="l">
              <a:spcAft>
                <a:spcPts val="600"/>
              </a:spcAft>
            </a:pP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3" name="Bildunterschrift">
            <a:extLst>
              <a:ext uri="{FF2B5EF4-FFF2-40B4-BE49-F238E27FC236}">
                <a16:creationId xmlns:a16="http://schemas.microsoft.com/office/drawing/2014/main" id="{A415EF6E-0026-A754-49CA-E277E90E34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10413" y="5709600"/>
            <a:ext cx="3816000" cy="579600"/>
          </a:xfrm>
        </p:spPr>
        <p:txBody>
          <a:bodyPr tIns="72000"/>
          <a:lstStyle>
            <a:lvl1pPr marL="0" indent="0">
              <a:buFontTx/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Optional: Bildunterzeile und/oder Quelle.</a:t>
            </a:r>
          </a:p>
        </p:txBody>
      </p:sp>
      <p:sp>
        <p:nvSpPr>
          <p:cNvPr id="9" name="Untertitel">
            <a:extLst>
              <a:ext uri="{FF2B5EF4-FFF2-40B4-BE49-F238E27FC236}">
                <a16:creationId xmlns:a16="http://schemas.microsoft.com/office/drawing/2014/main" id="{A1CC353C-CB5B-30D8-8C25-FE71F3BEAF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9587" y="925200"/>
            <a:ext cx="5598000" cy="24480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  <a:latin typeface="+mj-lt"/>
              </a:defRPr>
            </a:lvl1pPr>
            <a:lvl2pPr marL="385200" indent="0">
              <a:buNone/>
              <a:defRPr sz="2000">
                <a:solidFill>
                  <a:schemeClr val="tx2"/>
                </a:solidFill>
                <a:latin typeface="+mj-lt"/>
              </a:defRPr>
            </a:lvl2pPr>
            <a:lvl3pPr marL="385200" indent="0">
              <a:buNone/>
              <a:defRPr sz="2000">
                <a:solidFill>
                  <a:schemeClr val="tx2"/>
                </a:solidFill>
                <a:latin typeface="+mj-lt"/>
              </a:defRPr>
            </a:lvl3pPr>
            <a:lvl4pPr marL="385200" indent="0">
              <a:buNone/>
              <a:defRPr sz="2000">
                <a:solidFill>
                  <a:schemeClr val="tx2"/>
                </a:solidFill>
                <a:latin typeface="+mj-lt"/>
              </a:defRPr>
            </a:lvl4pPr>
            <a:lvl5pPr marL="385200" indent="0">
              <a:buNone/>
              <a:defRPr sz="20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Optionaler 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932425-FEBD-9789-5D35-A94FCAD781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587" y="500444"/>
            <a:ext cx="5598000" cy="4032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7EF71FA-D2BD-AA21-68DB-C161FFF154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Oral Diagnostics, Digital Dentistry and Health Services Research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83FB9AE-9E6D-2D5B-59DC-A0CD80BD52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BEE1888-55D2-A2C1-B138-27E69663AE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DCBEDA2-04EF-A8FD-969E-7871337F52A1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5D49E70-CD68-24B1-5CE4-D810BC6BB89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08000" y="1670400"/>
            <a:ext cx="5097600" cy="40392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8CAACDC9-B304-1159-0AA3-F82B78F83FE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110000" y="572400"/>
            <a:ext cx="4064400" cy="5140800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de-DE" dirty="0"/>
              <a:t>Hier können Sie Ihr Bild einfügen.</a:t>
            </a:r>
          </a:p>
        </p:txBody>
      </p:sp>
    </p:spTree>
    <p:extLst>
      <p:ext uri="{BB962C8B-B14F-4D97-AF65-F5344CB8AC3E}">
        <p14:creationId xmlns:p14="http://schemas.microsoft.com/office/powerpoint/2010/main" val="32653339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rechts -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unterschrift">
            <a:extLst>
              <a:ext uri="{FF2B5EF4-FFF2-40B4-BE49-F238E27FC236}">
                <a16:creationId xmlns:a16="http://schemas.microsoft.com/office/drawing/2014/main" id="{B83F5A42-09F3-8AF1-5DD8-4CEFA09823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08825" y="5709600"/>
            <a:ext cx="3816000" cy="579600"/>
          </a:xfrm>
        </p:spPr>
        <p:txBody>
          <a:bodyPr tIns="72000"/>
          <a:lstStyle>
            <a:lvl1pPr marL="0" indent="0">
              <a:buNone/>
              <a:defRPr sz="1000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/>
              <a:t>Optional: Bildunterzeile und/oder Quelle.</a:t>
            </a:r>
          </a:p>
        </p:txBody>
      </p:sp>
      <p:sp>
        <p:nvSpPr>
          <p:cNvPr id="12" name="Untertitel">
            <a:extLst>
              <a:ext uri="{FF2B5EF4-FFF2-40B4-BE49-F238E27FC236}">
                <a16:creationId xmlns:a16="http://schemas.microsoft.com/office/drawing/2014/main" id="{039E2D46-444D-DEB7-16B4-8DD4289BC4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9588" y="925200"/>
            <a:ext cx="5598000" cy="24480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Optionaler Untertite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02BF8A9-19BC-0FA9-FD6D-BF956E374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586" y="500444"/>
            <a:ext cx="5596425" cy="4032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F326468-83EB-EE59-6697-DF5117A80D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Oral Diagnostics, Digital Dentistry and Health Services Research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64DFD21-7A1F-0463-AB52-625787D590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A844017-E78D-22D5-CE5A-4028FC42F2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AA8359DE-EBE8-12FF-4096-36F458DFC4B2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46483FB-B1C7-609E-6E6D-11D1D6269B7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07999" y="1670400"/>
            <a:ext cx="5098013" cy="40392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5468F84-C774-202E-E2EB-B60A78E28728}"/>
              </a:ext>
            </a:extLst>
          </p:cNvPr>
          <p:cNvSpPr/>
          <p:nvPr userDrawn="1"/>
        </p:nvSpPr>
        <p:spPr>
          <a:xfrm>
            <a:off x="8127600" y="0"/>
            <a:ext cx="4064400" cy="514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72000" rIns="126000" bIns="72000" rtlCol="0" anchor="t">
            <a:noAutofit/>
          </a:bodyPr>
          <a:lstStyle/>
          <a:p>
            <a:pPr algn="l">
              <a:spcAft>
                <a:spcPts val="600"/>
              </a:spcAft>
            </a:pP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3CD094CC-FBA3-BAEB-D00B-1BECF6056FD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108425" y="573676"/>
            <a:ext cx="4064400" cy="5140800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de-DE" dirty="0"/>
              <a:t>Hier können Sie Ihr Bild einfügen.</a:t>
            </a:r>
          </a:p>
        </p:txBody>
      </p:sp>
    </p:spTree>
    <p:extLst>
      <p:ext uri="{BB962C8B-B14F-4D97-AF65-F5344CB8AC3E}">
        <p14:creationId xmlns:p14="http://schemas.microsoft.com/office/powerpoint/2010/main" val="40279275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 -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2ECBB58-4B6E-4F5D-18E3-352178B5F108}"/>
              </a:ext>
            </a:extLst>
          </p:cNvPr>
          <p:cNvSpPr/>
          <p:nvPr userDrawn="1"/>
        </p:nvSpPr>
        <p:spPr>
          <a:xfrm>
            <a:off x="0" y="0"/>
            <a:ext cx="5083200" cy="51408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72000" rIns="126000" bIns="72000" rtlCol="0" anchor="t">
            <a:noAutofit/>
          </a:bodyPr>
          <a:lstStyle/>
          <a:p>
            <a:pPr algn="l">
              <a:spcAft>
                <a:spcPts val="600"/>
              </a:spcAft>
            </a:pP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9" name="Bildunterschrift">
            <a:extLst>
              <a:ext uri="{FF2B5EF4-FFF2-40B4-BE49-F238E27FC236}">
                <a16:creationId xmlns:a16="http://schemas.microsoft.com/office/drawing/2014/main" id="{25DFDAC6-8A5B-9471-0A9F-54B22B6816A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18800" y="5709600"/>
            <a:ext cx="3816000" cy="579600"/>
          </a:xfrm>
        </p:spPr>
        <p:txBody>
          <a:bodyPr tIns="72000"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>
              <a:defRPr sz="10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tx2"/>
                </a:solidFill>
              </a:defRPr>
            </a:lvl3pPr>
            <a:lvl4pPr>
              <a:defRPr sz="100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Optional: Bildunterzeile und/oder Quelle.</a:t>
            </a:r>
          </a:p>
        </p:txBody>
      </p:sp>
      <p:sp>
        <p:nvSpPr>
          <p:cNvPr id="15" name="Untertitel">
            <a:extLst>
              <a:ext uri="{FF2B5EF4-FFF2-40B4-BE49-F238E27FC236}">
                <a16:creationId xmlns:a16="http://schemas.microsoft.com/office/drawing/2014/main" id="{89A7CE53-8F11-FE8E-6DDD-F7618B9749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18349" y="925200"/>
            <a:ext cx="4060800" cy="24480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Optionaler Untertitel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02359A7-1149-422C-69A8-37AE8B162D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8376" y="500444"/>
            <a:ext cx="4060800" cy="4032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B2039F-5508-D28A-543C-318285DDF4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Oral Diagnostics, Digital Dentistry and Health Services Research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FF4D526-92AA-2696-9886-0A80AC27DF0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020E028-2D70-DDC8-A75B-AFC9FF0ECA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46445B0F-D593-F908-CA3C-D9D7F1902A30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B70A3D4C-8535-BE52-9416-AA35328A261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17588" y="569913"/>
            <a:ext cx="5083200" cy="5140325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de-DE" dirty="0"/>
              <a:t>Hier können Sie Ihr Bild ein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C93E7FA6-31E7-59EE-A999-F09A5C8CBD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18349" y="1670400"/>
            <a:ext cx="4060800" cy="40392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92682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48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 -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unterschrift">
            <a:extLst>
              <a:ext uri="{FF2B5EF4-FFF2-40B4-BE49-F238E27FC236}">
                <a16:creationId xmlns:a16="http://schemas.microsoft.com/office/drawing/2014/main" id="{6530243A-A0D6-B4C6-7331-2AE3B9106A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17588" y="5709600"/>
            <a:ext cx="3816000" cy="579600"/>
          </a:xfrm>
        </p:spPr>
        <p:txBody>
          <a:bodyPr tIns="72000"/>
          <a:lstStyle>
            <a:lvl1pPr marL="0" indent="0">
              <a:buFontTx/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Optional: Bildunterzeile und/oder Quelle.</a:t>
            </a:r>
          </a:p>
        </p:txBody>
      </p:sp>
      <p:sp>
        <p:nvSpPr>
          <p:cNvPr id="14" name="Untertitel">
            <a:extLst>
              <a:ext uri="{FF2B5EF4-FFF2-40B4-BE49-F238E27FC236}">
                <a16:creationId xmlns:a16="http://schemas.microsoft.com/office/drawing/2014/main" id="{1B023507-4C12-465C-5B67-55E082CDAA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16763" y="925200"/>
            <a:ext cx="4060800" cy="24480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Optionaler Untertitel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31C227B-9DE1-2AA8-305F-F16000F2C0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7200" y="500444"/>
            <a:ext cx="4060800" cy="4032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AA31609-6C29-2EE0-85D3-7779176E4A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Oral Diagnostics, Digital Dentistry and Health Services Research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3595691-1C8C-3479-AE37-1A310B8D867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ED1A4FE-7E6F-90B9-EAD8-684C0501EF8B}"/>
              </a:ext>
            </a:extLst>
          </p:cNvPr>
          <p:cNvSpPr/>
          <p:nvPr userDrawn="1"/>
        </p:nvSpPr>
        <p:spPr>
          <a:xfrm>
            <a:off x="0" y="0"/>
            <a:ext cx="5083200" cy="514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72000" rIns="126000" bIns="72000" rtlCol="0" anchor="t">
            <a:noAutofit/>
          </a:bodyPr>
          <a:lstStyle/>
          <a:p>
            <a:pPr algn="l">
              <a:spcAft>
                <a:spcPts val="600"/>
              </a:spcAft>
            </a:pPr>
            <a:endParaRPr lang="de-DE" sz="1200" dirty="0">
              <a:solidFill>
                <a:schemeClr val="tx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084715E-A26A-780C-58EF-A05AC37998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4BE0523F-0317-1C66-75A2-1378C1883750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167AFAC5-E98C-D72F-C6F7-99426887E86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17588" y="568800"/>
            <a:ext cx="5083200" cy="5140800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de-DE" dirty="0"/>
              <a:t>Hier können Sie Ihr Bild einfügen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1A18C4E-E9A0-5EC2-6917-6E116013FB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16763" y="1670400"/>
            <a:ext cx="4060800" cy="40392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27118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48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Bild mit Text -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E30D5BF-3468-766C-3E90-FB1A153A63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55F5D32-A15D-3AAE-C668-2E1E1314CC1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Oral Diagnostics, Digital Dentistry and Health Services Research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901B3C6-DBC5-650E-5FB0-23AF99A000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5A61836-94D7-E50E-9EA4-B37A153949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C091E40B-CC10-5C7D-4E7E-B3B286DDC7D8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0755A324-2C07-E9DE-7C47-9D8A4E94468B}"/>
              </a:ext>
            </a:extLst>
          </p:cNvPr>
          <p:cNvSpPr/>
          <p:nvPr userDrawn="1"/>
        </p:nvSpPr>
        <p:spPr>
          <a:xfrm>
            <a:off x="0" y="2855438"/>
            <a:ext cx="12192000" cy="28548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72000" rIns="126000" bIns="72000" rtlCol="0" anchor="t">
            <a:noAutofit/>
          </a:bodyPr>
          <a:lstStyle/>
          <a:p>
            <a:pPr algn="l">
              <a:spcAft>
                <a:spcPts val="600"/>
              </a:spcAft>
            </a:pP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7297243-B4C9-835C-E79E-1D8C330F66F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17588" y="1713600"/>
            <a:ext cx="4064400" cy="2286000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de-DE" dirty="0"/>
              <a:t>Hier können Sie Ihr Bild einfügen.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F9BD6CE4-05EB-0F7B-1287-47FFE26DB3F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105450" y="1713600"/>
            <a:ext cx="4064400" cy="2286000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de-DE" dirty="0"/>
              <a:t>Hier können Sie Ihr Bild einfügen.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CEE08FEE-65AA-E28D-7EB6-D029D22C8F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17588" y="3998913"/>
            <a:ext cx="4064000" cy="1710000"/>
          </a:xfrm>
        </p:spPr>
        <p:txBody>
          <a:bodyPr tIns="252000" bIns="14400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95F1686-D325-2423-FADF-0BAF4FD75F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05650" y="3998913"/>
            <a:ext cx="4064000" cy="1710000"/>
          </a:xfrm>
        </p:spPr>
        <p:txBody>
          <a:bodyPr tIns="252000" bIns="14400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A5A56BAE-7B11-AC1C-3E73-01405A2D2F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200" y="925200"/>
            <a:ext cx="9136063" cy="24480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Optionaler Untertitel</a:t>
            </a:r>
          </a:p>
        </p:txBody>
      </p:sp>
    </p:spTree>
    <p:extLst>
      <p:ext uri="{BB962C8B-B14F-4D97-AF65-F5344CB8AC3E}">
        <p14:creationId xmlns:p14="http://schemas.microsoft.com/office/powerpoint/2010/main" val="16799902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04">
          <p15:clr>
            <a:srgbClr val="FBAE40"/>
          </p15:clr>
        </p15:guide>
        <p15:guide id="2" pos="447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729436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Bild mit Text -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8B95AC-787E-6570-9EBA-924258A1DD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587" y="500444"/>
            <a:ext cx="9136800" cy="4032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0147418-A1B9-1522-B5DD-23600759D8A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Oral Diagnostics, Digital Dentistry and Health Services Research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89F59FB-6202-5E64-A2B0-EB61D68F5B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C100A0F-82DE-2E25-04E4-6D053E95B4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3B5FAE4B-A6D4-085D-6A3E-98BD8F7168E9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F26FF4B2-E32A-687D-93AC-BF8340CE86C6}"/>
              </a:ext>
            </a:extLst>
          </p:cNvPr>
          <p:cNvSpPr/>
          <p:nvPr userDrawn="1"/>
        </p:nvSpPr>
        <p:spPr>
          <a:xfrm>
            <a:off x="0" y="2855438"/>
            <a:ext cx="12192000" cy="2854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72000" rIns="126000" bIns="72000" rtlCol="0" anchor="t">
            <a:noAutofit/>
          </a:bodyPr>
          <a:lstStyle/>
          <a:p>
            <a:pPr algn="l">
              <a:spcAft>
                <a:spcPts val="600"/>
              </a:spcAft>
            </a:pP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19DB8161-E57B-D485-9EF0-C746E1D1EE8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17588" y="1714500"/>
            <a:ext cx="4064400" cy="2286000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de-DE" dirty="0"/>
              <a:t>Hier können Sie Ihr Bild einfügen.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77ED89A1-EDBC-802D-3495-BE63017FA47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106839" y="1714500"/>
            <a:ext cx="4064400" cy="2286000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de-DE" dirty="0"/>
              <a:t>Hier können Sie Ihr Bild einfügen.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E3E6423B-C2C1-C316-7151-5D81468FEE5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17588" y="4000369"/>
            <a:ext cx="4064000" cy="1709738"/>
          </a:xfrm>
        </p:spPr>
        <p:txBody>
          <a:bodyPr tIns="252000" bIns="144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845A965B-A019-AA22-2301-6A2C1C3633E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07238" y="4000369"/>
            <a:ext cx="4065587" cy="1710000"/>
          </a:xfrm>
        </p:spPr>
        <p:txBody>
          <a:bodyPr tIns="252000" bIns="144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28712D-955C-CC61-9526-1E97E44BDA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200" y="925200"/>
            <a:ext cx="9136063" cy="24480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Optionaler Untertitel</a:t>
            </a:r>
          </a:p>
        </p:txBody>
      </p:sp>
    </p:spTree>
    <p:extLst>
      <p:ext uri="{BB962C8B-B14F-4D97-AF65-F5344CB8AC3E}">
        <p14:creationId xmlns:p14="http://schemas.microsoft.com/office/powerpoint/2010/main" val="7028584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476">
          <p15:clr>
            <a:srgbClr val="FBAE40"/>
          </p15:clr>
        </p15:guide>
        <p15:guide id="2" pos="320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 dunkel - Tex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ED52C9D-87C8-011B-E56D-51D5C50B391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accent5"/>
          </a:solidFill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Hier können Sie Ihr großformatiges Bild einfügen. </a:t>
            </a:r>
            <a:br>
              <a:rPr lang="de-DE" dirty="0"/>
            </a:br>
            <a:r>
              <a:rPr lang="de-DE" dirty="0"/>
              <a:t>Bitte achten Sie auf einen ausreichenden Farbkontrast bzw. ein harmonisches Zusammenspiel mit der Fußzeile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241DB3A-6DE5-F033-FEE8-41F3896BC3B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Oral Diagnostics, Digital Dentistry and Health Services Research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3B63763-DE9D-6D38-AC3B-4B4CC07EC0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A9C953F-34B1-4DD2-A3DB-3A35190EAD1A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DCB682A-2009-9235-F971-D6E915E4E6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0"/>
          </a:xfrm>
          <a:prstGeom prst="rect">
            <a:avLst/>
          </a:prstGeom>
        </p:spPr>
      </p:pic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AF581E7A-B35D-5EC1-B852-434FA1E7DC23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41395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hell vollflächig - Text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CBBA00DF-2000-4C26-A9C5-C7DCDBB9F8C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de-DE" dirty="0"/>
              <a:t>Hier können Sie Ihr großformatiges Bild einfügen. </a:t>
            </a:r>
            <a:br>
              <a:rPr lang="de-DE" dirty="0"/>
            </a:br>
            <a:r>
              <a:rPr lang="de-DE" dirty="0"/>
              <a:t>Bitte achten Sie auf einen ausreichenden Farbkontrast bzw. ein harmonisches Zusammenspiel mit der Fußzeile.</a:t>
            </a:r>
          </a:p>
          <a:p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0DBC79A-7CBB-10CE-2C3C-FD05E64850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Oral Diagnostics, Digital Dentistry and Health Services Research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46FDE8-A2B6-316B-1469-0EEC7555C6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54A8951-1200-D0E7-5F8E-2C10B57D75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25938C14-2DEC-82A2-7695-24571C7D5D8E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87512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n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C027018-D557-3C79-D1EA-D1294A0AD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Oral Diagnostics, Digital Dentistry and Health Services Research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2FCA897-0E45-4EFB-1E77-AEBED04C2B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D94C2AB-ECEC-E542-B222-D9C6BD9A43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9B46E80D-8C7E-12BE-E6D4-002699C55689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826F5AFC-CA37-5E0B-FCB1-E613AB3E5F4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035969" y="1723680"/>
            <a:ext cx="478534" cy="349200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BBD2C1F7-0409-E8C8-F128-0615B1F22DE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35969" y="1714500"/>
            <a:ext cx="8120062" cy="3995737"/>
          </a:xfrm>
        </p:spPr>
        <p:txBody>
          <a:bodyPr tIns="576000" rIns="0" anchor="t"/>
          <a:lstStyle>
            <a:lvl1pPr marL="0" indent="0">
              <a:spcAft>
                <a:spcPts val="2200"/>
              </a:spcAft>
              <a:buNone/>
              <a:defRPr sz="3200">
                <a:latin typeface="Charité Headline Office Light" pitchFamily="2" charset="0"/>
              </a:defRPr>
            </a:lvl1pPr>
            <a:lvl2pPr marL="0" indent="0">
              <a:buNone/>
              <a:defRPr sz="2000">
                <a:solidFill>
                  <a:schemeClr val="tx2"/>
                </a:solidFill>
                <a:latin typeface="Charité Headline Office Light" pitchFamily="2" charset="0"/>
              </a:defRPr>
            </a:lvl2pPr>
            <a:lvl3pPr marL="0" indent="0">
              <a:buNone/>
              <a:defRPr sz="2000">
                <a:solidFill>
                  <a:schemeClr val="tx2"/>
                </a:solidFill>
                <a:latin typeface="Charité Headline Office Light" pitchFamily="2" charset="0"/>
              </a:defRPr>
            </a:lvl3pPr>
            <a:lvl4pPr marL="0" indent="0">
              <a:buNone/>
              <a:defRPr sz="2000">
                <a:solidFill>
                  <a:schemeClr val="tx2"/>
                </a:solidFill>
                <a:latin typeface="Charité Headline Office Light" pitchFamily="2" charset="0"/>
              </a:defRPr>
            </a:lvl4pPr>
            <a:lvl5pPr marL="0" indent="0">
              <a:buNone/>
              <a:defRPr sz="2000">
                <a:solidFill>
                  <a:schemeClr val="tx2"/>
                </a:solidFill>
                <a:latin typeface="Charité Headline Office Light" pitchFamily="2" charset="0"/>
              </a:defRPr>
            </a:lvl5pPr>
          </a:lstStyle>
          <a:p>
            <a:pPr lvl="0"/>
            <a:r>
              <a:rPr lang="de-DE" dirty="0"/>
              <a:t>Ein längeres Zitat. (max. 200 Zeichen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672588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62">
          <p15:clr>
            <a:srgbClr val="FBAE40"/>
          </p15:clr>
        </p15:guide>
        <p15:guide id="2" pos="1282">
          <p15:clr>
            <a:srgbClr val="FBAE40"/>
          </p15:clr>
        </p15:guide>
        <p15:guide id="3" pos="639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mit Bild -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DEC8225-D3C6-D2CF-36B3-EDB4A6C8405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Oral Diagnostics, Digital Dentistry and Health Services Research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9C7943-986D-598F-5ABF-0796079E17F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Bildunterschrift links">
            <a:extLst>
              <a:ext uri="{FF2B5EF4-FFF2-40B4-BE49-F238E27FC236}">
                <a16:creationId xmlns:a16="http://schemas.microsoft.com/office/drawing/2014/main" id="{F5EF10FB-FF64-F494-0F12-214A17E74D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17588" y="4568400"/>
            <a:ext cx="4464000" cy="579600"/>
          </a:xfrm>
        </p:spPr>
        <p:txBody>
          <a:bodyPr tIns="72000"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>
              <a:defRPr sz="10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tx2"/>
                </a:solidFill>
              </a:defRPr>
            </a:lvl3pPr>
            <a:lvl4pPr>
              <a:defRPr sz="100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Optional: Bildunterzeile und/oder Quelle. </a:t>
            </a:r>
          </a:p>
        </p:txBody>
      </p:sp>
      <p:sp>
        <p:nvSpPr>
          <p:cNvPr id="6" name="Zitat rechts">
            <a:extLst>
              <a:ext uri="{FF2B5EF4-FFF2-40B4-BE49-F238E27FC236}">
                <a16:creationId xmlns:a16="http://schemas.microsoft.com/office/drawing/2014/main" id="{9A610B8F-52F5-CF16-D4FA-31837E4AB5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4800" y="1714500"/>
            <a:ext cx="5076000" cy="4572000"/>
          </a:xfrm>
        </p:spPr>
        <p:txBody>
          <a:bodyPr tIns="576000"/>
          <a:lstStyle>
            <a:lvl1pPr marL="0" indent="0">
              <a:spcAft>
                <a:spcPts val="2200"/>
              </a:spcAft>
              <a:buNone/>
              <a:defRPr sz="3200">
                <a:latin typeface="Charité Headline Office Light" pitchFamily="2" charset="0"/>
              </a:defRPr>
            </a:lvl1pPr>
            <a:lvl2pPr marL="0" indent="0">
              <a:buNone/>
              <a:defRPr sz="2000">
                <a:solidFill>
                  <a:schemeClr val="tx2"/>
                </a:solidFill>
                <a:latin typeface="Charité Headline Office Light" pitchFamily="2" charset="0"/>
              </a:defRPr>
            </a:lvl2pPr>
            <a:lvl3pPr marL="0" indent="0">
              <a:buNone/>
              <a:defRPr sz="2000">
                <a:solidFill>
                  <a:schemeClr val="tx2"/>
                </a:solidFill>
                <a:latin typeface="Charité Headline Office Light" pitchFamily="2" charset="0"/>
              </a:defRPr>
            </a:lvl3pPr>
            <a:lvl4pPr marL="0" indent="0">
              <a:buNone/>
              <a:defRPr sz="2000">
                <a:solidFill>
                  <a:schemeClr val="tx2"/>
                </a:solidFill>
                <a:latin typeface="Charité Headline Office Light" pitchFamily="2" charset="0"/>
              </a:defRPr>
            </a:lvl4pPr>
            <a:lvl5pPr marL="0" indent="0">
              <a:buNone/>
              <a:defRPr sz="2000">
                <a:solidFill>
                  <a:schemeClr val="tx2"/>
                </a:solidFill>
                <a:latin typeface="Charité Headline Office Light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507D0E9-6FBC-33E2-267F-7C3A99A535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ECB66DCF-A25C-6162-B9A7-4F80B9BB1B76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>
            <a:extLst>
              <a:ext uri="{FF2B5EF4-FFF2-40B4-BE49-F238E27FC236}">
                <a16:creationId xmlns:a16="http://schemas.microsoft.com/office/drawing/2014/main" id="{60A537C2-A37C-32D3-0B21-5CAD494B56E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9734" y="1723680"/>
            <a:ext cx="478534" cy="349200"/>
          </a:xfrm>
          <a:prstGeom prst="rect">
            <a:avLst/>
          </a:prstGeom>
        </p:spPr>
      </p:pic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80238563-4251-CCDC-2832-70054B412A7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4800" cy="4568400"/>
          </a:xfrm>
          <a:custGeom>
            <a:avLst/>
            <a:gdLst>
              <a:gd name="connsiteX0" fmla="*/ 0 w 6094800"/>
              <a:gd name="connsiteY0" fmla="*/ 0 h 4568400"/>
              <a:gd name="connsiteX1" fmla="*/ 6094800 w 6094800"/>
              <a:gd name="connsiteY1" fmla="*/ 0 h 4568400"/>
              <a:gd name="connsiteX2" fmla="*/ 6094800 w 6094800"/>
              <a:gd name="connsiteY2" fmla="*/ 1145905 h 4568400"/>
              <a:gd name="connsiteX3" fmla="*/ 5588461 w 6094800"/>
              <a:gd name="connsiteY3" fmla="*/ 1145905 h 4568400"/>
              <a:gd name="connsiteX4" fmla="*/ 5588461 w 6094800"/>
              <a:gd name="connsiteY4" fmla="*/ 4568400 h 4568400"/>
              <a:gd name="connsiteX5" fmla="*/ 0 w 6094800"/>
              <a:gd name="connsiteY5" fmla="*/ 4568400 h 456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4800" h="4568400">
                <a:moveTo>
                  <a:pt x="0" y="0"/>
                </a:moveTo>
                <a:lnTo>
                  <a:pt x="6094800" y="0"/>
                </a:lnTo>
                <a:lnTo>
                  <a:pt x="6094800" y="1145905"/>
                </a:lnTo>
                <a:lnTo>
                  <a:pt x="5588461" y="1145905"/>
                </a:lnTo>
                <a:lnTo>
                  <a:pt x="5588461" y="4568400"/>
                </a:lnTo>
                <a:lnTo>
                  <a:pt x="0" y="4568400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de-DE" dirty="0"/>
              <a:t>Hier können Sie Ihr Bild einfügen.</a:t>
            </a:r>
          </a:p>
        </p:txBody>
      </p:sp>
    </p:spTree>
    <p:extLst>
      <p:ext uri="{BB962C8B-B14F-4D97-AF65-F5344CB8AC3E}">
        <p14:creationId xmlns:p14="http://schemas.microsoft.com/office/powerpoint/2010/main" val="385215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mit BIld - grau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EB2F91D-8241-4D3C-C26B-A83C3C6522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Oral Diagnostics, Digital Dentistry and Health Services Research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F42F20-F06C-0343-0BB9-FEA75E9F56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Bildunterschrift links">
            <a:extLst>
              <a:ext uri="{FF2B5EF4-FFF2-40B4-BE49-F238E27FC236}">
                <a16:creationId xmlns:a16="http://schemas.microsoft.com/office/drawing/2014/main" id="{3E89E347-2C1B-858E-9984-451FF1694B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18800" y="4568400"/>
            <a:ext cx="4464000" cy="579600"/>
          </a:xfrm>
        </p:spPr>
        <p:txBody>
          <a:bodyPr tIns="72000"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Optional: Bildunterzeile und/oder Quelle. </a:t>
            </a:r>
          </a:p>
        </p:txBody>
      </p:sp>
      <p:sp>
        <p:nvSpPr>
          <p:cNvPr id="6" name="Zitat rechts">
            <a:extLst>
              <a:ext uri="{FF2B5EF4-FFF2-40B4-BE49-F238E27FC236}">
                <a16:creationId xmlns:a16="http://schemas.microsoft.com/office/drawing/2014/main" id="{C1D4E14F-DCC6-FF5E-8F43-2EA345A0371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0" y="1713600"/>
            <a:ext cx="5076000" cy="4572000"/>
          </a:xfrm>
        </p:spPr>
        <p:txBody>
          <a:bodyPr tIns="576000"/>
          <a:lstStyle>
            <a:lvl1pPr marL="0" indent="0">
              <a:spcAft>
                <a:spcPts val="2200"/>
              </a:spcAft>
              <a:buNone/>
              <a:defRPr sz="3200">
                <a:latin typeface="Charité Headline Office Light" pitchFamily="2" charset="0"/>
              </a:defRPr>
            </a:lvl1pPr>
            <a:lvl2pPr marL="0" indent="0">
              <a:buNone/>
              <a:defRPr sz="2000">
                <a:solidFill>
                  <a:schemeClr val="tx2"/>
                </a:solidFill>
                <a:latin typeface="Charité Headline Office Light" pitchFamily="2" charset="0"/>
              </a:defRPr>
            </a:lvl2pPr>
            <a:lvl3pPr marL="0" indent="0">
              <a:buNone/>
              <a:defRPr sz="2000">
                <a:solidFill>
                  <a:schemeClr val="tx2"/>
                </a:solidFill>
                <a:latin typeface="Charité Headline Office Light" pitchFamily="2" charset="0"/>
              </a:defRPr>
            </a:lvl3pPr>
            <a:lvl4pPr marL="0" indent="0">
              <a:buNone/>
              <a:defRPr sz="2000">
                <a:solidFill>
                  <a:schemeClr val="tx2"/>
                </a:solidFill>
                <a:latin typeface="Charité Headline Office Light" pitchFamily="2" charset="0"/>
              </a:defRPr>
            </a:lvl4pPr>
            <a:lvl5pPr marL="0" indent="0">
              <a:buNone/>
              <a:defRPr sz="2000">
                <a:solidFill>
                  <a:schemeClr val="tx2"/>
                </a:solidFill>
                <a:latin typeface="Charité Headline Office Light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F1BAF51-5DF7-97FD-EDE4-EC34051DCF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5C00BC6E-95B8-88CD-5F8E-3CC20B06E5C3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>
            <a:extLst>
              <a:ext uri="{FF2B5EF4-FFF2-40B4-BE49-F238E27FC236}">
                <a16:creationId xmlns:a16="http://schemas.microsoft.com/office/drawing/2014/main" id="{BDFF4DC6-07C7-1045-F431-5EC8EDE8CFA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9734" y="1723680"/>
            <a:ext cx="478534" cy="349200"/>
          </a:xfrm>
          <a:prstGeom prst="rect">
            <a:avLst/>
          </a:prstGeom>
        </p:spPr>
      </p:pic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83B521FA-D1BF-CDE7-CD6D-E751D5FA5BC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4800" cy="4568400"/>
          </a:xfrm>
          <a:custGeom>
            <a:avLst/>
            <a:gdLst>
              <a:gd name="connsiteX0" fmla="*/ 0 w 6094800"/>
              <a:gd name="connsiteY0" fmla="*/ 0 h 4568400"/>
              <a:gd name="connsiteX1" fmla="*/ 6094800 w 6094800"/>
              <a:gd name="connsiteY1" fmla="*/ 0 h 4568400"/>
              <a:gd name="connsiteX2" fmla="*/ 6094800 w 6094800"/>
              <a:gd name="connsiteY2" fmla="*/ 1145905 h 4568400"/>
              <a:gd name="connsiteX3" fmla="*/ 5588461 w 6094800"/>
              <a:gd name="connsiteY3" fmla="*/ 1145905 h 4568400"/>
              <a:gd name="connsiteX4" fmla="*/ 5588461 w 6094800"/>
              <a:gd name="connsiteY4" fmla="*/ 4568400 h 4568400"/>
              <a:gd name="connsiteX5" fmla="*/ 0 w 6094800"/>
              <a:gd name="connsiteY5" fmla="*/ 4568400 h 456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4800" h="4568400">
                <a:moveTo>
                  <a:pt x="0" y="0"/>
                </a:moveTo>
                <a:lnTo>
                  <a:pt x="6094800" y="0"/>
                </a:lnTo>
                <a:lnTo>
                  <a:pt x="6094800" y="1145905"/>
                </a:lnTo>
                <a:lnTo>
                  <a:pt x="5588461" y="1145905"/>
                </a:lnTo>
                <a:lnTo>
                  <a:pt x="5588461" y="4568400"/>
                </a:lnTo>
                <a:lnTo>
                  <a:pt x="0" y="4568400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de-DE" dirty="0"/>
              <a:t>Hier können Sie Ihr Bild einfügen.</a:t>
            </a:r>
          </a:p>
        </p:txBody>
      </p:sp>
    </p:spTree>
    <p:extLst>
      <p:ext uri="{BB962C8B-B14F-4D97-AF65-F5344CB8AC3E}">
        <p14:creationId xmlns:p14="http://schemas.microsoft.com/office/powerpoint/2010/main" val="3658946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mit Bild - blau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BE471F9-D6D3-0FAE-0195-B99091D2121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Oral Diagnostics, Digital Dentistry and Health Services Research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7DE233-0890-3C93-8D23-0FC49F53F7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A9C953F-34B1-4DD2-A3DB-3A35190EAD1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Bildunterschrift links">
            <a:extLst>
              <a:ext uri="{FF2B5EF4-FFF2-40B4-BE49-F238E27FC236}">
                <a16:creationId xmlns:a16="http://schemas.microsoft.com/office/drawing/2014/main" id="{81389CBD-C4DC-2153-941A-05FA4F502E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17587" y="4568400"/>
            <a:ext cx="4464000" cy="579600"/>
          </a:xfrm>
        </p:spPr>
        <p:txBody>
          <a:bodyPr tIns="7200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385200" indent="0">
              <a:buNone/>
              <a:defRPr sz="1000">
                <a:solidFill>
                  <a:schemeClr val="bg1"/>
                </a:solidFill>
              </a:defRPr>
            </a:lvl2pPr>
            <a:lvl3pPr marL="385200" indent="0">
              <a:buNone/>
              <a:defRPr sz="1000">
                <a:solidFill>
                  <a:schemeClr val="bg1"/>
                </a:solidFill>
              </a:defRPr>
            </a:lvl3pPr>
            <a:lvl4pPr marL="385200" indent="0">
              <a:buNone/>
              <a:defRPr sz="1000">
                <a:solidFill>
                  <a:schemeClr val="bg1"/>
                </a:solidFill>
              </a:defRPr>
            </a:lvl4pPr>
            <a:lvl5pPr marL="3852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Optional: Bildunterzeile und/oder Quelle. </a:t>
            </a:r>
          </a:p>
        </p:txBody>
      </p:sp>
      <p:sp>
        <p:nvSpPr>
          <p:cNvPr id="6" name="Zitat rechts">
            <a:extLst>
              <a:ext uri="{FF2B5EF4-FFF2-40B4-BE49-F238E27FC236}">
                <a16:creationId xmlns:a16="http://schemas.microsoft.com/office/drawing/2014/main" id="{09A741AB-DDB3-E465-B84E-7E5FCC563D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5999" y="1714500"/>
            <a:ext cx="5076000" cy="4572000"/>
          </a:xfrm>
        </p:spPr>
        <p:txBody>
          <a:bodyPr tIns="576000"/>
          <a:lstStyle>
            <a:lvl1pPr marL="0" indent="0">
              <a:spcAft>
                <a:spcPts val="2200"/>
              </a:spcAft>
              <a:buNone/>
              <a:defRPr sz="3200">
                <a:solidFill>
                  <a:schemeClr val="bg1"/>
                </a:solidFill>
                <a:latin typeface="Charité Headline Office Light" pitchFamily="2" charset="0"/>
              </a:defRPr>
            </a:lvl1pPr>
            <a:lvl2pPr marL="0" indent="0">
              <a:buNone/>
              <a:defRPr sz="2000">
                <a:solidFill>
                  <a:schemeClr val="bg1"/>
                </a:solidFill>
                <a:latin typeface="Charité Headline Office Light" pitchFamily="2" charset="0"/>
              </a:defRPr>
            </a:lvl2pPr>
            <a:lvl3pPr marL="0" indent="0">
              <a:buNone/>
              <a:defRPr sz="2000">
                <a:solidFill>
                  <a:schemeClr val="bg1"/>
                </a:solidFill>
                <a:latin typeface="Charité Headline Office Light" pitchFamily="2" charset="0"/>
              </a:defRPr>
            </a:lvl3pPr>
            <a:lvl4pPr marL="0" indent="0">
              <a:buNone/>
              <a:defRPr sz="2000">
                <a:solidFill>
                  <a:schemeClr val="bg1"/>
                </a:solidFill>
                <a:latin typeface="Charité Headline Office Light" pitchFamily="2" charset="0"/>
              </a:defRPr>
            </a:lvl4pPr>
            <a:lvl5pPr marL="0" indent="0">
              <a:buNone/>
              <a:defRPr sz="2000">
                <a:solidFill>
                  <a:schemeClr val="bg1"/>
                </a:solidFill>
                <a:latin typeface="Charité Headline Office Light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16928C1-93F3-55BA-09E6-176D312911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0"/>
          </a:xfrm>
          <a:prstGeom prst="rect">
            <a:avLst/>
          </a:prstGeom>
        </p:spPr>
      </p:pic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E0BD22A1-6E28-2916-D633-DFA8E06A2222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>
            <a:extLst>
              <a:ext uri="{FF2B5EF4-FFF2-40B4-BE49-F238E27FC236}">
                <a16:creationId xmlns:a16="http://schemas.microsoft.com/office/drawing/2014/main" id="{16AF9A60-7CB2-553B-D1C0-A2AA28E5832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9734" y="1723680"/>
            <a:ext cx="478534" cy="349200"/>
          </a:xfrm>
          <a:prstGeom prst="rect">
            <a:avLst/>
          </a:prstGeom>
        </p:spPr>
      </p:pic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EFDDC698-A9C4-96B3-CCB5-572D335078B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4800" cy="4568400"/>
          </a:xfrm>
          <a:custGeom>
            <a:avLst/>
            <a:gdLst>
              <a:gd name="connsiteX0" fmla="*/ 0 w 6094800"/>
              <a:gd name="connsiteY0" fmla="*/ 0 h 4568400"/>
              <a:gd name="connsiteX1" fmla="*/ 6094800 w 6094800"/>
              <a:gd name="connsiteY1" fmla="*/ 0 h 4568400"/>
              <a:gd name="connsiteX2" fmla="*/ 6094800 w 6094800"/>
              <a:gd name="connsiteY2" fmla="*/ 1145905 h 4568400"/>
              <a:gd name="connsiteX3" fmla="*/ 5588461 w 6094800"/>
              <a:gd name="connsiteY3" fmla="*/ 1145905 h 4568400"/>
              <a:gd name="connsiteX4" fmla="*/ 5588461 w 6094800"/>
              <a:gd name="connsiteY4" fmla="*/ 4568400 h 4568400"/>
              <a:gd name="connsiteX5" fmla="*/ 0 w 6094800"/>
              <a:gd name="connsiteY5" fmla="*/ 4568400 h 456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4800" h="4568400">
                <a:moveTo>
                  <a:pt x="0" y="0"/>
                </a:moveTo>
                <a:lnTo>
                  <a:pt x="6094800" y="0"/>
                </a:lnTo>
                <a:lnTo>
                  <a:pt x="6094800" y="1145905"/>
                </a:lnTo>
                <a:lnTo>
                  <a:pt x="5588461" y="1145905"/>
                </a:lnTo>
                <a:lnTo>
                  <a:pt x="5588461" y="4568400"/>
                </a:lnTo>
                <a:lnTo>
                  <a:pt x="0" y="4568400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de-DE" dirty="0"/>
              <a:t>Hier können Sie Ihr Bild einfügen.</a:t>
            </a:r>
          </a:p>
        </p:txBody>
      </p:sp>
    </p:spTree>
    <p:extLst>
      <p:ext uri="{BB962C8B-B14F-4D97-AF65-F5344CB8AC3E}">
        <p14:creationId xmlns:p14="http://schemas.microsoft.com/office/powerpoint/2010/main" val="1169579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C04AA9-04B0-AE4F-13DB-3A460177E9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587" y="500444"/>
            <a:ext cx="9136463" cy="430887"/>
          </a:xfrm>
        </p:spPr>
        <p:txBody>
          <a:bodyPr>
            <a:noAutofit/>
          </a:bodyPr>
          <a:lstStyle/>
          <a:p>
            <a:r>
              <a:rPr lang="en-GB"/>
              <a:t>Click to edit Master title style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E6CCC65-D01A-D53B-C4CF-41199E8BC3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Oral Diagnostics, Digital Dentistry and Health Services Research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394FAAF-D2FB-F3B8-D7AC-023718855E4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9C953F-34B1-4DD2-A3DB-3A35190EAD1A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3DD1D29-CC10-0823-A03C-3201D85697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27181" y="6184800"/>
            <a:ext cx="925200" cy="485351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BE8DEE0A-8885-8A93-BA9E-31F3F31BF967}"/>
              </a:ext>
            </a:extLst>
          </p:cNvPr>
          <p:cNvCxnSpPr/>
          <p:nvPr userDrawn="1"/>
        </p:nvCxnSpPr>
        <p:spPr>
          <a:xfrm>
            <a:off x="1519200" y="6278400"/>
            <a:ext cx="0" cy="2808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4E9EF90-76A7-EF76-AD7B-1001EEA785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9588" y="925200"/>
            <a:ext cx="9136062" cy="244800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Optionaler Untertitel</a:t>
            </a:r>
          </a:p>
        </p:txBody>
      </p:sp>
    </p:spTree>
    <p:extLst>
      <p:ext uri="{BB962C8B-B14F-4D97-AF65-F5344CB8AC3E}">
        <p14:creationId xmlns:p14="http://schemas.microsoft.com/office/powerpoint/2010/main" val="2482541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19">
          <p15:clr>
            <a:srgbClr val="FBAE40"/>
          </p15:clr>
        </p15:guide>
        <p15:guide id="2" pos="4158">
          <p15:clr>
            <a:srgbClr val="FBAE40"/>
          </p15:clr>
        </p15:guide>
        <p15:guide id="3" pos="2559">
          <p15:clr>
            <a:srgbClr val="FBAE40"/>
          </p15:clr>
        </p15:guide>
        <p15:guide id="4" pos="2880">
          <p15:clr>
            <a:srgbClr val="FBAE40"/>
          </p15:clr>
        </p15:guide>
        <p15:guide id="5" pos="4800">
          <p15:clr>
            <a:srgbClr val="FBAE40"/>
          </p15:clr>
        </p15:guide>
        <p15:guide id="6" pos="512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211667" cy="15875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1" name="Titelplatzhalter 7"/>
          <p:cNvSpPr>
            <a:spLocks noGrp="1"/>
          </p:cNvSpPr>
          <p:nvPr>
            <p:ph type="title"/>
          </p:nvPr>
        </p:nvSpPr>
        <p:spPr>
          <a:xfrm>
            <a:off x="0" y="62519"/>
            <a:ext cx="12192000" cy="561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08823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3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648310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3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73258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3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265819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3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35011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3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382738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3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672447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24E67A-AF0E-4819-AC53-2E46C7DFBD72}" type="datetimeFigureOut">
              <a:rPr lang="zh-CN" altLang="en-US" smtClean="0"/>
              <a:t>2023/3/2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19787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BC933E9F-246A-3950-07DD-35A1C54B89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587" y="500444"/>
            <a:ext cx="9136463" cy="40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2E2EBD-5537-B338-9CF2-90BF2C079D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08857" y="1671208"/>
            <a:ext cx="10163968" cy="40390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Mastertextformat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5E98871-4032-17EC-C264-14142C58E0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67482" y="6307118"/>
            <a:ext cx="4114800" cy="25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5"/>
                </a:solidFill>
              </a:defRPr>
            </a:lvl1pPr>
          </a:lstStyle>
          <a:p>
            <a:r>
              <a:rPr lang="de-DE"/>
              <a:t>Oral Diagnostics, Digital Dentistry and Health Services Research 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C46978B-5C2C-8DFA-E992-1FFC3EBABE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41596" y="6307200"/>
            <a:ext cx="2743200" cy="25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accent5"/>
                </a:solidFill>
              </a:defRPr>
            </a:lvl1pPr>
          </a:lstStyle>
          <a:p>
            <a:fld id="{3A9C953F-34B1-4DD2-A3DB-3A35190EAD1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7429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  <p:sldLayoutId id="2147483708" r:id="rId24"/>
    <p:sldLayoutId id="2147483709" r:id="rId25"/>
    <p:sldLayoutId id="2147483710" r:id="rId26"/>
    <p:sldLayoutId id="2147483711" r:id="rId27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sz="28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162000" indent="-162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SzPct val="90000"/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83200" indent="-198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Charité Text Office" pitchFamily="2" charset="0"/>
        <a:buChar char="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83200" indent="-198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Charité Text Office" pitchFamily="2" charset="0"/>
        <a:buChar char="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83200" indent="-198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Charité Text Office" pitchFamily="2" charset="0"/>
        <a:buChar char="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83200" indent="-198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Charité Text Office" pitchFamily="2" charset="0"/>
        <a:buChar char="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4" pos="320">
          <p15:clr>
            <a:srgbClr val="F26B43"/>
          </p15:clr>
        </p15:guide>
        <p15:guide id="15" orient="horz" pos="360">
          <p15:clr>
            <a:srgbClr val="F26B43"/>
          </p15:clr>
        </p15:guide>
        <p15:guide id="16" pos="641">
          <p15:clr>
            <a:srgbClr val="F26B43"/>
          </p15:clr>
        </p15:guide>
        <p15:guide id="17" pos="7038">
          <p15:clr>
            <a:srgbClr val="F26B43"/>
          </p15:clr>
        </p15:guide>
        <p15:guide id="18" orient="horz" pos="3597">
          <p15:clr>
            <a:srgbClr val="F26B43"/>
          </p15:clr>
        </p15:guide>
        <p15:guide id="19" orient="horz" pos="10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martha.buettner@charite.de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>
            <a:extLst>
              <a:ext uri="{FF2B5EF4-FFF2-40B4-BE49-F238E27FC236}">
                <a16:creationId xmlns:a16="http://schemas.microsoft.com/office/drawing/2014/main" id="{8C7CA0D1-8B49-4675-8A5E-57C7F64475C1}"/>
              </a:ext>
            </a:extLst>
          </p:cNvPr>
          <p:cNvSpPr/>
          <p:nvPr/>
        </p:nvSpPr>
        <p:spPr>
          <a:xfrm>
            <a:off x="8802194" y="845674"/>
            <a:ext cx="19655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GB" b="1" dirty="0"/>
              <a:t>FGAI4H-R-040-A06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36F58C8-2F54-4864-94DC-A069EA8D2640}"/>
              </a:ext>
            </a:extLst>
          </p:cNvPr>
          <p:cNvSpPr/>
          <p:nvPr/>
        </p:nvSpPr>
        <p:spPr>
          <a:xfrm>
            <a:off x="7738248" y="1215006"/>
            <a:ext cx="30294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dirty="0"/>
              <a:t>Cambridge, 21-24 March 2023</a:t>
            </a:r>
          </a:p>
        </p:txBody>
      </p:sp>
      <p:graphicFrame>
        <p:nvGraphicFramePr>
          <p:cNvPr id="14" name="Table 2">
            <a:extLst>
              <a:ext uri="{FF2B5EF4-FFF2-40B4-BE49-F238E27FC236}">
                <a16:creationId xmlns:a16="http://schemas.microsoft.com/office/drawing/2014/main" id="{F23ADA95-2EB2-45F5-AA21-8B52FA9A9E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2976808"/>
              </p:ext>
            </p:extLst>
          </p:nvPr>
        </p:nvGraphicFramePr>
        <p:xfrm>
          <a:off x="1424267" y="3274055"/>
          <a:ext cx="9343465" cy="17145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97379">
                  <a:extLst>
                    <a:ext uri="{9D8B030D-6E8A-4147-A177-3AD203B41FA5}">
                      <a16:colId xmlns:a16="http://schemas.microsoft.com/office/drawing/2014/main" val="3760236376"/>
                    </a:ext>
                  </a:extLst>
                </a:gridCol>
                <a:gridCol w="3866469">
                  <a:extLst>
                    <a:ext uri="{9D8B030D-6E8A-4147-A177-3AD203B41FA5}">
                      <a16:colId xmlns:a16="http://schemas.microsoft.com/office/drawing/2014/main" val="4118390399"/>
                    </a:ext>
                  </a:extLst>
                </a:gridCol>
                <a:gridCol w="3979617">
                  <a:extLst>
                    <a:ext uri="{9D8B030D-6E8A-4147-A177-3AD203B41FA5}">
                      <a16:colId xmlns:a16="http://schemas.microsoft.com/office/drawing/2014/main" val="3689152469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Source:</a:t>
                      </a:r>
                      <a:endParaRPr lang="en-GB" sz="1800" b="1" dirty="0"/>
                    </a:p>
                  </a:txBody>
                  <a:tcPr marL="68580" marR="68580" marT="34290" marB="34290"/>
                </a:tc>
                <a:tc gridSpan="2">
                  <a:txBody>
                    <a:bodyPr/>
                    <a:lstStyle/>
                    <a:p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arité</a:t>
                      </a:r>
                      <a:r>
                        <a:rPr lang="en-GB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8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iversitätsmedizin</a:t>
                      </a:r>
                      <a:r>
                        <a:rPr lang="en-GB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erlin</a:t>
                      </a:r>
                      <a:endParaRPr lang="en-GB" sz="1800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043626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Title:</a:t>
                      </a:r>
                      <a:endParaRPr lang="en-GB" sz="1800" b="1" dirty="0"/>
                    </a:p>
                  </a:txBody>
                  <a:tcPr marL="68580" marR="68580" marT="34290" marB="3429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800" dirty="0"/>
                        <a:t>Att.6 – Presentation - </a:t>
                      </a:r>
                      <a:r>
                        <a:rPr lang="en-US" dirty="0"/>
                        <a:t>Overcoming Current Challenges in Dental Deep Learning</a:t>
                      </a:r>
                      <a:endParaRPr lang="en-GB" sz="1800" dirty="0"/>
                    </a:p>
                  </a:txBody>
                  <a:tcPr marL="68580" marR="68580" marT="34290" marB="3429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46812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Contact:</a:t>
                      </a:r>
                      <a:endParaRPr lang="en-GB" sz="1800" b="1" dirty="0"/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Martha </a:t>
                      </a:r>
                      <a:r>
                        <a:rPr lang="en-US" sz="1800" dirty="0" err="1"/>
                        <a:t>Büttner</a:t>
                      </a:r>
                      <a:endParaRPr lang="en-GB" sz="1800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E-mail: </a:t>
                      </a:r>
                      <a:r>
                        <a:rPr lang="en-US" sz="1800" dirty="0">
                          <a:hlinkClick r:id="rId3"/>
                        </a:rPr>
                        <a:t>martha.buettner@charite.de</a:t>
                      </a:r>
                      <a:r>
                        <a:rPr lang="en-US" sz="1800" dirty="0"/>
                        <a:t> </a:t>
                      </a:r>
                      <a:endParaRPr lang="en-GB" sz="1800" dirty="0"/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874149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Abstract:</a:t>
                      </a:r>
                      <a:endParaRPr lang="en-GB" sz="1800" b="1" dirty="0"/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is PPT contains a presentation on overcoming current challenges in dental deep learning given in the AI for Dentistry Symposium on 21 March 2023.</a:t>
                      </a:r>
                      <a:endParaRPr lang="en-GB" sz="1800" dirty="0"/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79474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39349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8BDAB198-1428-CA41-C270-3B88B1094A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9588" y="925200"/>
            <a:ext cx="5598000" cy="2448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700" dirty="0"/>
              <a:t>Semi Supervised Learning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A2CF9E7C-F97B-9007-3352-44FD367BD6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586" y="500444"/>
            <a:ext cx="5596425" cy="403200"/>
          </a:xfrm>
        </p:spPr>
        <p:txBody>
          <a:bodyPr anchor="t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en-US" sz="3100" dirty="0"/>
              <a:t>Proposed Solution</a:t>
            </a:r>
            <a:br>
              <a:rPr lang="en-US" sz="1300" dirty="0"/>
            </a:br>
            <a:endParaRPr lang="en-US" sz="13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9C966F7-F42D-F1D3-0390-A804F997CD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67482" y="6307118"/>
            <a:ext cx="4114800" cy="252000"/>
          </a:xfrm>
        </p:spPr>
        <p:txBody>
          <a:bodyPr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7E898F"/>
                </a:solidFill>
                <a:effectLst/>
                <a:uLnTx/>
                <a:uFillTx/>
                <a:latin typeface="Charité Text Office"/>
                <a:ea typeface="+mn-ea"/>
                <a:cs typeface="+mn-cs"/>
              </a:rPr>
              <a:t>Oral Diagnostics, Digital Dentistry and Health Services Research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BA39351-51BC-300C-D164-1356662767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941596" y="6307200"/>
            <a:ext cx="2743200" cy="252000"/>
          </a:xfrm>
        </p:spPr>
        <p:txBody>
          <a:bodyPr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3A9C953F-34B1-4DD2-A3DB-3A35190EAD1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E898F"/>
                </a:solidFill>
                <a:effectLst/>
                <a:uLnTx/>
                <a:uFillTx/>
                <a:latin typeface="Charité Text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E898F"/>
              </a:solidFill>
              <a:effectLst/>
              <a:uLnTx/>
              <a:uFillTx/>
              <a:latin typeface="Charité Text Office"/>
              <a:ea typeface="+mn-ea"/>
              <a:cs typeface="+mn-cs"/>
            </a:endParaRPr>
          </a:p>
        </p:txBody>
      </p:sp>
      <p:sp>
        <p:nvSpPr>
          <p:cNvPr id="5129" name="Text Placeholder 6">
            <a:extLst>
              <a:ext uri="{FF2B5EF4-FFF2-40B4-BE49-F238E27FC236}">
                <a16:creationId xmlns:a16="http://schemas.microsoft.com/office/drawing/2014/main" id="{82616339-2C3E-3DAD-97CF-0FFC04AB0EF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07998" y="1522689"/>
            <a:ext cx="5098013" cy="4039200"/>
          </a:xfrm>
        </p:spPr>
        <p:txBody>
          <a:bodyPr/>
          <a:lstStyle/>
          <a:p>
            <a:r>
              <a:rPr lang="en-US" dirty="0"/>
              <a:t>First Model trained on small amount of labeled data</a:t>
            </a:r>
          </a:p>
          <a:p>
            <a:pPr lvl="2"/>
            <a:r>
              <a:rPr lang="en-US" dirty="0"/>
              <a:t>Teacher model</a:t>
            </a:r>
          </a:p>
          <a:p>
            <a:r>
              <a:rPr lang="en-US" dirty="0"/>
              <a:t>Prediction on unlabeled data</a:t>
            </a:r>
          </a:p>
          <a:p>
            <a:r>
              <a:rPr lang="en-US" dirty="0"/>
              <a:t>Prediction used to train a new model</a:t>
            </a:r>
          </a:p>
          <a:p>
            <a:pPr lvl="2"/>
            <a:r>
              <a:rPr lang="en-US" dirty="0"/>
              <a:t>Student model</a:t>
            </a:r>
          </a:p>
          <a:p>
            <a:r>
              <a:rPr lang="en-US" dirty="0"/>
              <a:t>Fine tuning on labeled data</a:t>
            </a:r>
          </a:p>
          <a:p>
            <a:r>
              <a:rPr lang="en-US" dirty="0"/>
              <a:t>Student model becomes a teacher mod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06443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6" name="Text Placeholder 2">
            <a:extLst>
              <a:ext uri="{FF2B5EF4-FFF2-40B4-BE49-F238E27FC236}">
                <a16:creationId xmlns:a16="http://schemas.microsoft.com/office/drawing/2014/main" id="{6B3128A1-BA06-7B1C-97AC-7298D255B8D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9588" y="925200"/>
            <a:ext cx="5598000" cy="244800"/>
          </a:xfrm>
        </p:spPr>
        <p:txBody>
          <a:bodyPr/>
          <a:lstStyle/>
          <a:p>
            <a:r>
              <a:rPr lang="en-US" dirty="0"/>
              <a:t>Semi supervised caries segmentation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A2CF9E7C-F97B-9007-3352-44FD367BD6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586" y="500444"/>
            <a:ext cx="5596425" cy="403200"/>
          </a:xfrm>
        </p:spPr>
        <p:txBody>
          <a:bodyPr anchor="t">
            <a:noAutofit/>
          </a:bodyPr>
          <a:lstStyle/>
          <a:p>
            <a:pPr>
              <a:lnSpc>
                <a:spcPct val="90000"/>
              </a:lnSpc>
            </a:pPr>
            <a:r>
              <a:rPr lang="de-DE" dirty="0"/>
              <a:t>Project</a:t>
            </a:r>
            <a:br>
              <a:rPr lang="de-DE" dirty="0"/>
            </a:b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9C966F7-F42D-F1D3-0390-A804F997CD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67482" y="6307118"/>
            <a:ext cx="4114800" cy="252000"/>
          </a:xfrm>
        </p:spPr>
        <p:txBody>
          <a:bodyPr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7E898F"/>
                </a:solidFill>
                <a:effectLst/>
                <a:uLnTx/>
                <a:uFillTx/>
                <a:latin typeface="Charité Text Office"/>
                <a:ea typeface="+mn-ea"/>
                <a:cs typeface="+mn-cs"/>
              </a:rPr>
              <a:t>Oral Diagnostics, Digital Dentistry and Health Services Research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BA39351-51BC-300C-D164-1356662767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941596" y="6307200"/>
            <a:ext cx="2743200" cy="252000"/>
          </a:xfrm>
        </p:spPr>
        <p:txBody>
          <a:bodyPr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3A9C953F-34B1-4DD2-A3DB-3A35190EAD1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E898F"/>
                </a:solidFill>
                <a:effectLst/>
                <a:uLnTx/>
                <a:uFillTx/>
                <a:latin typeface="Charité Text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E898F"/>
              </a:solidFill>
              <a:effectLst/>
              <a:uLnTx/>
              <a:uFillTx/>
              <a:latin typeface="Charité Text Office"/>
              <a:ea typeface="+mn-ea"/>
              <a:cs typeface="+mn-cs"/>
            </a:endParaRP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44294688-FB15-94A7-EEFC-C89A1DBE79B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08000" y="1670400"/>
            <a:ext cx="3897488" cy="4039200"/>
          </a:xfrm>
        </p:spPr>
        <p:txBody>
          <a:bodyPr anchor="t">
            <a:normAutofit/>
          </a:bodyPr>
          <a:lstStyle/>
          <a:p>
            <a:r>
              <a:rPr lang="en-US" dirty="0"/>
              <a:t>Application of semi-supervised learning to two </a:t>
            </a:r>
            <a:r>
              <a:rPr lang="en-US" dirty="0" err="1"/>
              <a:t>diffrent</a:t>
            </a:r>
            <a:r>
              <a:rPr lang="en-US" dirty="0"/>
              <a:t> problems and data types</a:t>
            </a:r>
          </a:p>
          <a:p>
            <a:r>
              <a:rPr lang="en-US" dirty="0"/>
              <a:t>Angle classification on intraoral photographs</a:t>
            </a:r>
          </a:p>
          <a:p>
            <a:r>
              <a:rPr lang="en-US" dirty="0"/>
              <a:t>Segmentation of caries lesions on bitewing radiographs</a:t>
            </a:r>
          </a:p>
          <a:p>
            <a:r>
              <a:rPr lang="en-US" dirty="0"/>
              <a:t>Model benefited from semi supervised approach</a:t>
            </a:r>
          </a:p>
          <a:p>
            <a:endParaRPr lang="en-US" dirty="0"/>
          </a:p>
          <a:p>
            <a:r>
              <a:rPr lang="en-US" dirty="0"/>
              <a:t>Student model outperformed teacher models significantly (evaluated metrics: Dice, </a:t>
            </a:r>
            <a:r>
              <a:rPr lang="en-US" dirty="0" err="1"/>
              <a:t>IoU</a:t>
            </a:r>
            <a:r>
              <a:rPr lang="en-US" dirty="0"/>
              <a:t>, Sensitivity, PPV)</a:t>
            </a:r>
          </a:p>
        </p:txBody>
      </p:sp>
    </p:spTree>
    <p:extLst>
      <p:ext uri="{BB962C8B-B14F-4D97-AF65-F5344CB8AC3E}">
        <p14:creationId xmlns:p14="http://schemas.microsoft.com/office/powerpoint/2010/main" val="15832560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BA87C4-D4D3-2F90-CBD6-48BD81DB6C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ng Comparability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2A7E837-7A5C-07F7-B758-E918D9E03FA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rité Text Office"/>
                <a:ea typeface="+mn-ea"/>
                <a:cs typeface="+mn-cs"/>
              </a:rPr>
              <a:t>Oral Diagnostics, Digital Dentistry and Health Services Research 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arité Text Office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9CB092-EB75-B1F8-7212-8FF59BB83C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9C953F-34B1-4DD2-A3DB-3A35190EAD1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rité Text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arité Text Office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751C36-363F-3D41-3889-346B035E4D8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7545539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A2CF9E7C-F97B-9007-3352-44FD367BD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hallenge</a:t>
            </a:r>
            <a:br>
              <a:rPr lang="de-DE" dirty="0"/>
            </a:br>
            <a:endParaRPr lang="de-DE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44294688-FB15-94A7-EEFC-C89A1DBE79B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Inconsistent reporting</a:t>
            </a:r>
          </a:p>
          <a:p>
            <a:r>
              <a:rPr lang="en-US" dirty="0"/>
              <a:t>Systematic review identified high amount of different metrics</a:t>
            </a:r>
          </a:p>
          <a:p>
            <a:r>
              <a:rPr lang="en-US" dirty="0"/>
              <a:t>Difficult to perform meta analysis 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9C966F7-F42D-F1D3-0390-A804F997CD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7E898F"/>
                </a:solidFill>
                <a:effectLst/>
                <a:uLnTx/>
                <a:uFillTx/>
                <a:latin typeface="Charité Text Office"/>
                <a:ea typeface="+mn-ea"/>
                <a:cs typeface="+mn-cs"/>
              </a:rPr>
              <a:t>Oral Diagnostics, Digital Dentistry and Health Services Research 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7E898F"/>
              </a:solidFill>
              <a:effectLst/>
              <a:uLnTx/>
              <a:uFillTx/>
              <a:latin typeface="Charité Text Office"/>
              <a:ea typeface="+mn-ea"/>
              <a:cs typeface="+mn-cs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BA39351-51BC-300C-D164-1356662767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9C953F-34B1-4DD2-A3DB-3A35190EAD1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E898F"/>
                </a:solidFill>
                <a:effectLst/>
                <a:uLnTx/>
                <a:uFillTx/>
                <a:latin typeface="Charité Text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E898F"/>
              </a:solidFill>
              <a:effectLst/>
              <a:uLnTx/>
              <a:uFillTx/>
              <a:latin typeface="Charité Text Office"/>
              <a:ea typeface="+mn-ea"/>
              <a:cs typeface="+mn-cs"/>
            </a:endParaRP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7B937BB0-75DF-B003-B4DB-940DB358830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9587" y="924815"/>
            <a:ext cx="9136800" cy="246221"/>
          </a:xfrm>
        </p:spPr>
        <p:txBody>
          <a:bodyPr/>
          <a:lstStyle/>
          <a:p>
            <a:r>
              <a:rPr lang="en-US" dirty="0"/>
              <a:t>Missing Comparability</a:t>
            </a:r>
          </a:p>
        </p:txBody>
      </p:sp>
    </p:spTree>
    <p:extLst>
      <p:ext uri="{BB962C8B-B14F-4D97-AF65-F5344CB8AC3E}">
        <p14:creationId xmlns:p14="http://schemas.microsoft.com/office/powerpoint/2010/main" val="20686087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A2CF9E7C-F97B-9007-3352-44FD367BD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hallenge</a:t>
            </a:r>
            <a:br>
              <a:rPr lang="de-DE" dirty="0"/>
            </a:br>
            <a:endParaRPr lang="de-DE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44294688-FB15-94A7-EEFC-C89A1DBE79B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 dirty="0" err="1"/>
              <a:t>Inconsistent</a:t>
            </a:r>
            <a:r>
              <a:rPr lang="de-DE" dirty="0"/>
              <a:t> </a:t>
            </a:r>
            <a:r>
              <a:rPr lang="de-DE" dirty="0" err="1"/>
              <a:t>reporting</a:t>
            </a:r>
            <a:endParaRPr lang="de-DE" dirty="0"/>
          </a:p>
          <a:p>
            <a:r>
              <a:rPr lang="de-DE" dirty="0" err="1"/>
              <a:t>Systematic</a:t>
            </a:r>
            <a:r>
              <a:rPr lang="de-DE" dirty="0"/>
              <a:t> review </a:t>
            </a:r>
            <a:r>
              <a:rPr lang="de-DE" dirty="0" err="1"/>
              <a:t>identified</a:t>
            </a:r>
            <a:r>
              <a:rPr lang="de-DE" dirty="0"/>
              <a:t> </a:t>
            </a:r>
            <a:r>
              <a:rPr lang="de-DE" dirty="0" err="1"/>
              <a:t>immensive</a:t>
            </a:r>
            <a:r>
              <a:rPr lang="de-DE" dirty="0"/>
              <a:t> </a:t>
            </a:r>
            <a:r>
              <a:rPr lang="de-DE" dirty="0" err="1"/>
              <a:t>amou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iffrent</a:t>
            </a:r>
            <a:r>
              <a:rPr lang="de-DE" dirty="0"/>
              <a:t> </a:t>
            </a:r>
            <a:r>
              <a:rPr lang="de-DE" dirty="0" err="1"/>
              <a:t>metrics</a:t>
            </a:r>
            <a:endParaRPr lang="de-DE" dirty="0"/>
          </a:p>
          <a:p>
            <a:r>
              <a:rPr lang="de-DE" dirty="0" err="1"/>
              <a:t>Difficul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perform </a:t>
            </a:r>
            <a:r>
              <a:rPr lang="de-DE" dirty="0" err="1"/>
              <a:t>meta</a:t>
            </a:r>
            <a:r>
              <a:rPr lang="de-DE" dirty="0"/>
              <a:t> </a:t>
            </a:r>
            <a:r>
              <a:rPr lang="de-DE" dirty="0" err="1"/>
              <a:t>analysis</a:t>
            </a:r>
            <a:r>
              <a:rPr lang="de-DE" dirty="0"/>
              <a:t> </a:t>
            </a:r>
          </a:p>
          <a:p>
            <a:r>
              <a:rPr lang="de-DE" dirty="0" err="1"/>
              <a:t>Current</a:t>
            </a:r>
            <a:r>
              <a:rPr lang="de-DE" dirty="0"/>
              <a:t> </a:t>
            </a:r>
            <a:r>
              <a:rPr lang="de-DE" dirty="0" err="1"/>
              <a:t>reporting</a:t>
            </a:r>
            <a:r>
              <a:rPr lang="de-DE" dirty="0"/>
              <a:t> </a:t>
            </a:r>
            <a:r>
              <a:rPr lang="de-DE" dirty="0" err="1"/>
              <a:t>guidelines</a:t>
            </a:r>
            <a:r>
              <a:rPr lang="de-DE" dirty="0"/>
              <a:t> do not </a:t>
            </a:r>
            <a:r>
              <a:rPr lang="de-DE" dirty="0" err="1"/>
              <a:t>focus</a:t>
            </a:r>
            <a:r>
              <a:rPr lang="de-DE" dirty="0"/>
              <a:t> on </a:t>
            </a:r>
            <a:r>
              <a:rPr lang="de-DE" dirty="0" err="1"/>
              <a:t>metircs</a:t>
            </a:r>
            <a:endParaRPr lang="de-DE" dirty="0"/>
          </a:p>
          <a:p>
            <a:r>
              <a:rPr lang="de-DE" dirty="0" err="1"/>
              <a:t>Metrics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technical</a:t>
            </a:r>
            <a:r>
              <a:rPr lang="de-DE" dirty="0"/>
              <a:t> </a:t>
            </a:r>
            <a:r>
              <a:rPr lang="de-DE" dirty="0" err="1"/>
              <a:t>knowledg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terpret</a:t>
            </a:r>
            <a:endParaRPr lang="de-DE" dirty="0"/>
          </a:p>
          <a:p>
            <a:r>
              <a:rPr lang="de-DE" dirty="0"/>
              <a:t>Medical </a:t>
            </a:r>
            <a:r>
              <a:rPr lang="de-DE" dirty="0" err="1"/>
              <a:t>devices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evaluation</a:t>
            </a:r>
            <a:r>
              <a:rPr lang="de-DE" dirty="0"/>
              <a:t> on </a:t>
            </a:r>
            <a:r>
              <a:rPr lang="de-DE" dirty="0" err="1"/>
              <a:t>clinical</a:t>
            </a:r>
            <a:r>
              <a:rPr lang="de-DE" dirty="0"/>
              <a:t> </a:t>
            </a:r>
            <a:r>
              <a:rPr lang="de-DE" dirty="0" err="1"/>
              <a:t>metrics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on </a:t>
            </a:r>
            <a:r>
              <a:rPr lang="de-DE" dirty="0" err="1"/>
              <a:t>confusion</a:t>
            </a:r>
            <a:r>
              <a:rPr lang="de-DE" dirty="0"/>
              <a:t> </a:t>
            </a:r>
            <a:r>
              <a:rPr lang="de-DE" dirty="0" err="1"/>
              <a:t>matrix</a:t>
            </a: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9C966F7-F42D-F1D3-0390-A804F997CD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7E898F"/>
                </a:solidFill>
                <a:effectLst/>
                <a:uLnTx/>
                <a:uFillTx/>
                <a:latin typeface="Charité Text Office"/>
                <a:ea typeface="+mn-ea"/>
                <a:cs typeface="+mn-cs"/>
              </a:rPr>
              <a:t>Oral Diagnostics, Digital Dentistry and Health Services Research 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7E898F"/>
              </a:solidFill>
              <a:effectLst/>
              <a:uLnTx/>
              <a:uFillTx/>
              <a:latin typeface="Charité Text Office"/>
              <a:ea typeface="+mn-ea"/>
              <a:cs typeface="+mn-cs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BA39351-51BC-300C-D164-1356662767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9C953F-34B1-4DD2-A3DB-3A35190EAD1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E898F"/>
                </a:solidFill>
                <a:effectLst/>
                <a:uLnTx/>
                <a:uFillTx/>
                <a:latin typeface="Charité Text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E898F"/>
              </a:solidFill>
              <a:effectLst/>
              <a:uLnTx/>
              <a:uFillTx/>
              <a:latin typeface="Charité Text Office"/>
              <a:ea typeface="+mn-ea"/>
              <a:cs typeface="+mn-cs"/>
            </a:endParaRPr>
          </a:p>
        </p:txBody>
      </p:sp>
      <p:pic>
        <p:nvPicPr>
          <p:cNvPr id="4" name="Picture 3" descr="Table&#10;&#10;Description automatically generated with medium confidence">
            <a:extLst>
              <a:ext uri="{FF2B5EF4-FFF2-40B4-BE49-F238E27FC236}">
                <a16:creationId xmlns:a16="http://schemas.microsoft.com/office/drawing/2014/main" id="{8861888D-4E10-E53D-6D89-D7FFEB9FEA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46" y="120096"/>
            <a:ext cx="9417699" cy="6110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3572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A2CF9E7C-F97B-9007-3352-44FD367BD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hallenge</a:t>
            </a:r>
            <a:br>
              <a:rPr lang="de-DE" dirty="0"/>
            </a:br>
            <a:endParaRPr lang="de-DE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44294688-FB15-94A7-EEFC-C89A1DBE79B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Inconsistent reporting</a:t>
            </a:r>
          </a:p>
          <a:p>
            <a:r>
              <a:rPr lang="en-US" dirty="0"/>
              <a:t>Systematic review identified high amount of different metrics</a:t>
            </a:r>
          </a:p>
          <a:p>
            <a:r>
              <a:rPr lang="en-US" dirty="0"/>
              <a:t>Difficult to perform meta analysis </a:t>
            </a:r>
          </a:p>
          <a:p>
            <a:endParaRPr lang="en-US" dirty="0"/>
          </a:p>
          <a:p>
            <a:r>
              <a:rPr lang="en-US" dirty="0"/>
              <a:t>Current reporting guidelines do not focus on metrics</a:t>
            </a:r>
          </a:p>
          <a:p>
            <a:r>
              <a:rPr lang="en-US" dirty="0"/>
              <a:t>Metrics need technical knowledge to interpret</a:t>
            </a:r>
          </a:p>
          <a:p>
            <a:r>
              <a:rPr lang="en-US" dirty="0"/>
              <a:t>Medical devices need evaluation on clinical metrics based on confusion matrix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9C966F7-F42D-F1D3-0390-A804F997CD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7E898F"/>
                </a:solidFill>
                <a:effectLst/>
                <a:uLnTx/>
                <a:uFillTx/>
                <a:latin typeface="Charité Text Office"/>
                <a:ea typeface="+mn-ea"/>
                <a:cs typeface="+mn-cs"/>
              </a:rPr>
              <a:t>Oral Diagnostics, Digital Dentistry and Health Services Research 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7E898F"/>
              </a:solidFill>
              <a:effectLst/>
              <a:uLnTx/>
              <a:uFillTx/>
              <a:latin typeface="Charité Text Office"/>
              <a:ea typeface="+mn-ea"/>
              <a:cs typeface="+mn-cs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BA39351-51BC-300C-D164-1356662767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9C953F-34B1-4DD2-A3DB-3A35190EAD1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E898F"/>
                </a:solidFill>
                <a:effectLst/>
                <a:uLnTx/>
                <a:uFillTx/>
                <a:latin typeface="Charité Text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E898F"/>
              </a:solidFill>
              <a:effectLst/>
              <a:uLnTx/>
              <a:uFillTx/>
              <a:latin typeface="Charité Text Office"/>
              <a:ea typeface="+mn-ea"/>
              <a:cs typeface="+mn-cs"/>
            </a:endParaRP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7B937BB0-75DF-B003-B4DB-940DB358830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9587" y="924815"/>
            <a:ext cx="9136800" cy="246221"/>
          </a:xfrm>
        </p:spPr>
        <p:txBody>
          <a:bodyPr/>
          <a:lstStyle/>
          <a:p>
            <a:r>
              <a:rPr lang="en-US" dirty="0"/>
              <a:t>Missing Comparability</a:t>
            </a:r>
          </a:p>
        </p:txBody>
      </p:sp>
    </p:spTree>
    <p:extLst>
      <p:ext uri="{BB962C8B-B14F-4D97-AF65-F5344CB8AC3E}">
        <p14:creationId xmlns:p14="http://schemas.microsoft.com/office/powerpoint/2010/main" val="39137314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A2CF9E7C-F97B-9007-3352-44FD367BD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ook</a:t>
            </a:r>
            <a:br>
              <a:rPr lang="en-US" dirty="0"/>
            </a:br>
            <a:endParaRPr lang="en-US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44294688-FB15-94A7-EEFC-C89A1DBE79B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Development of reporting guidelines for dental computer vision</a:t>
            </a:r>
          </a:p>
          <a:p>
            <a:r>
              <a:rPr lang="en-US" dirty="0"/>
              <a:t>Combining clinical and technical perspective</a:t>
            </a:r>
          </a:p>
          <a:p>
            <a:r>
              <a:rPr lang="en-US" dirty="0"/>
              <a:t>Translation to clinical interpretable metrics</a:t>
            </a:r>
          </a:p>
          <a:p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Consensus for reporting requirement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Manuals for generating clinical relevant metrics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9C966F7-F42D-F1D3-0390-A804F997CD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7E898F"/>
                </a:solidFill>
                <a:effectLst/>
                <a:uLnTx/>
                <a:uFillTx/>
                <a:latin typeface="Charité Text Office"/>
                <a:ea typeface="+mn-ea"/>
                <a:cs typeface="+mn-cs"/>
              </a:rPr>
              <a:t>Oral Diagnostics, Digital Dentistry and Health Services Research 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7E898F"/>
              </a:solidFill>
              <a:effectLst/>
              <a:uLnTx/>
              <a:uFillTx/>
              <a:latin typeface="Charité Text Office"/>
              <a:ea typeface="+mn-ea"/>
              <a:cs typeface="+mn-cs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BA39351-51BC-300C-D164-1356662767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9C953F-34B1-4DD2-A3DB-3A35190EAD1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E898F"/>
                </a:solidFill>
                <a:effectLst/>
                <a:uLnTx/>
                <a:uFillTx/>
                <a:latin typeface="Charité Text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E898F"/>
              </a:solidFill>
              <a:effectLst/>
              <a:uLnTx/>
              <a:uFillTx/>
              <a:latin typeface="Charité Text Office"/>
              <a:ea typeface="+mn-ea"/>
              <a:cs typeface="+mn-cs"/>
            </a:endParaRP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ED4B67F4-0D87-B55C-BD05-71B4D608BC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9587" y="924815"/>
            <a:ext cx="9136800" cy="246221"/>
          </a:xfrm>
        </p:spPr>
        <p:txBody>
          <a:bodyPr/>
          <a:lstStyle/>
          <a:p>
            <a:r>
              <a:rPr lang="en-US" dirty="0"/>
              <a:t>Core Outcome Development</a:t>
            </a:r>
          </a:p>
        </p:txBody>
      </p:sp>
    </p:spTree>
    <p:extLst>
      <p:ext uri="{BB962C8B-B14F-4D97-AF65-F5344CB8AC3E}">
        <p14:creationId xmlns:p14="http://schemas.microsoft.com/office/powerpoint/2010/main" val="11105246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BAEB2C-C032-334B-EF38-B2F676F99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1600" y="571499"/>
            <a:ext cx="6793623" cy="5713413"/>
          </a:xfrm>
        </p:spPr>
        <p:txBody>
          <a:bodyPr/>
          <a:lstStyle/>
          <a:p>
            <a:r>
              <a:rPr lang="en-US" dirty="0"/>
              <a:t>Thank you for your attention!</a:t>
            </a:r>
            <a:br>
              <a:rPr lang="en-US" dirty="0"/>
            </a:br>
            <a:b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rité Headline Office"/>
                <a:ea typeface="+mj-ea"/>
                <a:cs typeface="+mj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rité Text Office"/>
                <a:ea typeface="+mj-ea"/>
                <a:cs typeface="+mj-cs"/>
              </a:rPr>
              <a:t>Martha Büttner |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rité Text Office"/>
                <a:ea typeface="+mj-ea"/>
                <a:cs typeface="+mj-cs"/>
              </a:rPr>
              <a:t>martha</a:t>
            </a:r>
            <a:r>
              <a:rPr lang="en-US" sz="1600" dirty="0">
                <a:solidFill>
                  <a:prstClr val="white"/>
                </a:solidFill>
                <a:latin typeface="Charité Text Office"/>
              </a:rPr>
              <a:t>.</a:t>
            </a:r>
            <a:r>
              <a:rPr lang="en-US" sz="1600" dirty="0" err="1">
                <a:solidFill>
                  <a:prstClr val="white"/>
                </a:solidFill>
                <a:latin typeface="Charité Text Office"/>
              </a:rPr>
              <a:t>buettner@charite.de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E22522A-2566-D285-49C7-944AE2884A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Oral </a:t>
            </a:r>
            <a:r>
              <a:rPr lang="de-DE" dirty="0" err="1"/>
              <a:t>Diagnostics</a:t>
            </a:r>
            <a:r>
              <a:rPr lang="de-DE" dirty="0"/>
              <a:t>, Digital </a:t>
            </a:r>
            <a:r>
              <a:rPr lang="de-DE" dirty="0" err="1"/>
              <a:t>Dentistry</a:t>
            </a:r>
            <a:r>
              <a:rPr lang="de-DE" dirty="0"/>
              <a:t> and Health Services Research </a:t>
            </a:r>
          </a:p>
        </p:txBody>
      </p:sp>
    </p:spTree>
    <p:extLst>
      <p:ext uri="{BB962C8B-B14F-4D97-AF65-F5344CB8AC3E}">
        <p14:creationId xmlns:p14="http://schemas.microsoft.com/office/powerpoint/2010/main" val="17180727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BAEB2C-C032-334B-EF38-B2F676F99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1600" y="571499"/>
            <a:ext cx="6793623" cy="5713413"/>
          </a:xfrm>
        </p:spPr>
        <p:txBody>
          <a:bodyPr/>
          <a:lstStyle/>
          <a:p>
            <a:r>
              <a:rPr lang="en-US" dirty="0"/>
              <a:t>Overcoming Current Challenges in Dental Deep Learning</a:t>
            </a:r>
            <a:br>
              <a:rPr lang="en-US" dirty="0"/>
            </a:br>
            <a:b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rité Headline Office"/>
                <a:ea typeface="+mj-ea"/>
                <a:cs typeface="+mj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rité Text Office"/>
                <a:ea typeface="+mj-ea"/>
                <a:cs typeface="+mj-cs"/>
              </a:rPr>
              <a:t>Martha Büttner | 21.03.2023 | Dental Symposium WHO &amp; ITU FG AI4H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E22522A-2566-D285-49C7-944AE2884A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Oral </a:t>
            </a:r>
            <a:r>
              <a:rPr lang="de-DE" dirty="0" err="1"/>
              <a:t>Diagnostics</a:t>
            </a:r>
            <a:r>
              <a:rPr lang="de-DE" dirty="0"/>
              <a:t>, Digital </a:t>
            </a:r>
            <a:r>
              <a:rPr lang="de-DE" dirty="0" err="1"/>
              <a:t>Dentistry</a:t>
            </a:r>
            <a:r>
              <a:rPr lang="de-DE" dirty="0"/>
              <a:t> and Health Services Research </a:t>
            </a:r>
          </a:p>
        </p:txBody>
      </p:sp>
    </p:spTree>
    <p:extLst>
      <p:ext uri="{BB962C8B-B14F-4D97-AF65-F5344CB8AC3E}">
        <p14:creationId xmlns:p14="http://schemas.microsoft.com/office/powerpoint/2010/main" val="9393646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FC51F0-7149-F157-E3D7-D0DEFF4B25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 - Challenges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A2CA857-C27D-591C-D40A-75E6FAA4C9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9C953F-34B1-4DD2-A3DB-3A35190EAD1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E898F"/>
                </a:solidFill>
                <a:effectLst/>
                <a:uLnTx/>
                <a:uFillTx/>
                <a:latin typeface="Charité Text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E898F"/>
              </a:solidFill>
              <a:effectLst/>
              <a:uLnTx/>
              <a:uFillTx/>
              <a:latin typeface="Charité Text Office"/>
              <a:ea typeface="+mn-ea"/>
              <a:cs typeface="+mn-cs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18F434B-88D4-3DAD-A8E7-BD58F3C078B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Data sharing</a:t>
            </a:r>
          </a:p>
          <a:p>
            <a:r>
              <a:rPr lang="en-US" dirty="0"/>
              <a:t>Annotation bottle neck</a:t>
            </a:r>
          </a:p>
          <a:p>
            <a:r>
              <a:rPr lang="en-US" dirty="0"/>
              <a:t>Missing comparability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1767482" y="6307118"/>
            <a:ext cx="4114800" cy="252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7E898F"/>
                </a:solidFill>
                <a:effectLst/>
                <a:uLnTx/>
                <a:uFillTx/>
                <a:latin typeface="Charité Text Office"/>
                <a:ea typeface="+mn-ea"/>
                <a:cs typeface="+mn-cs"/>
              </a:rPr>
              <a:t>Oral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7E898F"/>
                </a:solidFill>
                <a:effectLst/>
                <a:uLnTx/>
                <a:uFillTx/>
                <a:latin typeface="Charité Text Office"/>
                <a:ea typeface="+mn-ea"/>
                <a:cs typeface="+mn-cs"/>
              </a:rPr>
              <a:t>Diagnostics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7E898F"/>
                </a:solidFill>
                <a:effectLst/>
                <a:uLnTx/>
                <a:uFillTx/>
                <a:latin typeface="Charité Text Office"/>
                <a:ea typeface="+mn-ea"/>
                <a:cs typeface="+mn-cs"/>
              </a:rPr>
              <a:t>, Digital 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7E898F"/>
                </a:solidFill>
                <a:effectLst/>
                <a:uLnTx/>
                <a:uFillTx/>
                <a:latin typeface="Charité Text Office"/>
                <a:ea typeface="+mn-ea"/>
                <a:cs typeface="+mn-cs"/>
              </a:rPr>
              <a:t>Dentistry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7E898F"/>
                </a:solidFill>
                <a:effectLst/>
                <a:uLnTx/>
                <a:uFillTx/>
                <a:latin typeface="Charité Text Office"/>
                <a:ea typeface="+mn-ea"/>
                <a:cs typeface="+mn-cs"/>
              </a:rPr>
              <a:t> and Health Services Research </a:t>
            </a:r>
          </a:p>
        </p:txBody>
      </p:sp>
    </p:spTree>
    <p:extLst>
      <p:ext uri="{BB962C8B-B14F-4D97-AF65-F5344CB8AC3E}">
        <p14:creationId xmlns:p14="http://schemas.microsoft.com/office/powerpoint/2010/main" val="21194700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311E3B-57B9-98B2-F65E-2588FFEBD4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Sharing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4E0F57B-7AC7-3777-B46F-828BCF078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336C3D2-FB3D-7E00-1071-986CC4D70AB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rité Text Office"/>
                <a:ea typeface="+mn-ea"/>
                <a:cs typeface="+mn-cs"/>
              </a:rPr>
              <a:t>Oral Diagnostics, Digital Dentistry and Health Services Research 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arité Text Office"/>
              <a:ea typeface="+mn-ea"/>
              <a:cs typeface="+mn-cs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58B95D2-9294-1B55-8B83-D2E3DD20BD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9C953F-34B1-4DD2-A3DB-3A35190EAD1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rité Text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arité Text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7242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A2CF9E7C-F97B-9007-3352-44FD367BD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hallenge</a:t>
            </a:r>
            <a:br>
              <a:rPr lang="de-DE" dirty="0"/>
            </a:br>
            <a:endParaRPr lang="de-DE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44294688-FB15-94A7-EEFC-C89A1DBE79B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AI requires big amount of data</a:t>
            </a:r>
          </a:p>
          <a:p>
            <a:r>
              <a:rPr lang="en-US" dirty="0"/>
              <a:t>Medical data is high sensitive</a:t>
            </a:r>
          </a:p>
          <a:p>
            <a:r>
              <a:rPr lang="en-US" dirty="0"/>
              <a:t>Especially dental image data difficult to de-identify</a:t>
            </a:r>
          </a:p>
          <a:p>
            <a:r>
              <a:rPr lang="en-US" dirty="0"/>
              <a:t>Data protection barriers are high</a:t>
            </a:r>
          </a:p>
          <a:p>
            <a:endParaRPr lang="en-US" dirty="0"/>
          </a:p>
          <a:p>
            <a:r>
              <a:rPr lang="en-US" dirty="0" err="1"/>
              <a:t>Generalizabilty</a:t>
            </a:r>
            <a:r>
              <a:rPr lang="en-US" dirty="0"/>
              <a:t> of deep learning models of high importance</a:t>
            </a:r>
          </a:p>
          <a:p>
            <a:r>
              <a:rPr lang="en-US" dirty="0"/>
              <a:t>AI model performance differ when exposed to data from different centers</a:t>
            </a:r>
          </a:p>
          <a:p>
            <a:r>
              <a:rPr lang="en-US" dirty="0"/>
              <a:t>Leeds to bias and unfair medical diagnostic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9C966F7-F42D-F1D3-0390-A804F997CD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7E898F"/>
                </a:solidFill>
                <a:effectLst/>
                <a:uLnTx/>
                <a:uFillTx/>
                <a:latin typeface="Charité Text Office"/>
                <a:ea typeface="+mn-ea"/>
                <a:cs typeface="+mn-cs"/>
              </a:rPr>
              <a:t>Oral Diagnostics, Digital Dentistry and Health Services Research 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7E898F"/>
              </a:solidFill>
              <a:effectLst/>
              <a:uLnTx/>
              <a:uFillTx/>
              <a:latin typeface="Charité Text Office"/>
              <a:ea typeface="+mn-ea"/>
              <a:cs typeface="+mn-cs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BA39351-51BC-300C-D164-1356662767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9C953F-34B1-4DD2-A3DB-3A35190EAD1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E898F"/>
                </a:solidFill>
                <a:effectLst/>
                <a:uLnTx/>
                <a:uFillTx/>
                <a:latin typeface="Charité Text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E898F"/>
              </a:solidFill>
              <a:effectLst/>
              <a:uLnTx/>
              <a:uFillTx/>
              <a:latin typeface="Charité Text Office"/>
              <a:ea typeface="+mn-ea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601BC66-C871-9656-FE8C-4E4A2641B8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9587" y="924815"/>
            <a:ext cx="9136800" cy="246221"/>
          </a:xfrm>
        </p:spPr>
        <p:txBody>
          <a:bodyPr/>
          <a:lstStyle/>
          <a:p>
            <a:r>
              <a:rPr lang="en-US" dirty="0"/>
              <a:t>International Data Sharing</a:t>
            </a:r>
          </a:p>
        </p:txBody>
      </p:sp>
    </p:spTree>
    <p:extLst>
      <p:ext uri="{BB962C8B-B14F-4D97-AF65-F5344CB8AC3E}">
        <p14:creationId xmlns:p14="http://schemas.microsoft.com/office/powerpoint/2010/main" val="12830757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A2CF9E7C-F97B-9007-3352-44FD367BD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Solution</a:t>
            </a:r>
            <a:br>
              <a:rPr lang="en-US" dirty="0"/>
            </a:br>
            <a:endParaRPr lang="en-US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44294688-FB15-94A7-EEFC-C89A1DBE79B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014600" y="1444918"/>
            <a:ext cx="10162800" cy="4039200"/>
          </a:xfrm>
        </p:spPr>
        <p:txBody>
          <a:bodyPr/>
          <a:lstStyle/>
          <a:p>
            <a:r>
              <a:rPr lang="de-DE" b="1" dirty="0" err="1"/>
              <a:t>model</a:t>
            </a:r>
            <a:r>
              <a:rPr lang="de-DE" b="1" dirty="0"/>
              <a:t> on </a:t>
            </a:r>
            <a:r>
              <a:rPr lang="de-DE" b="1" dirty="0" err="1"/>
              <a:t>cross</a:t>
            </a:r>
            <a:r>
              <a:rPr lang="de-DE" b="1" dirty="0"/>
              <a:t>-center </a:t>
            </a:r>
            <a:r>
              <a:rPr lang="de-DE" b="1" dirty="0" err="1"/>
              <a:t>data</a:t>
            </a:r>
            <a:r>
              <a:rPr lang="de-DE" b="1" dirty="0"/>
              <a:t> </a:t>
            </a:r>
            <a:r>
              <a:rPr lang="de-DE" b="1" dirty="0" err="1"/>
              <a:t>without</a:t>
            </a:r>
            <a:r>
              <a:rPr lang="de-DE" b="1" dirty="0"/>
              <a:t> </a:t>
            </a:r>
            <a:r>
              <a:rPr lang="de-DE" b="1" dirty="0" err="1"/>
              <a:t>sharing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9C966F7-F42D-F1D3-0390-A804F997CD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7E898F"/>
                </a:solidFill>
                <a:effectLst/>
                <a:uLnTx/>
                <a:uFillTx/>
                <a:latin typeface="Charité Text Office"/>
                <a:ea typeface="+mn-ea"/>
                <a:cs typeface="+mn-cs"/>
              </a:rPr>
              <a:t>Oral Diagnostics, Digital Dentistry and Health Services Research 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7E898F"/>
              </a:solidFill>
              <a:effectLst/>
              <a:uLnTx/>
              <a:uFillTx/>
              <a:latin typeface="Charité Text Office"/>
              <a:ea typeface="+mn-ea"/>
              <a:cs typeface="+mn-cs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BA39351-51BC-300C-D164-1356662767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9C953F-34B1-4DD2-A3DB-3A35190EAD1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E898F"/>
                </a:solidFill>
                <a:effectLst/>
                <a:uLnTx/>
                <a:uFillTx/>
                <a:latin typeface="Charité Text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E898F"/>
              </a:solidFill>
              <a:effectLst/>
              <a:uLnTx/>
              <a:uFillTx/>
              <a:latin typeface="Charité Text Office"/>
              <a:ea typeface="+mn-ea"/>
              <a:cs typeface="+mn-cs"/>
            </a:endParaRP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B672CF1D-8640-1FBE-917E-DBDAD6EA30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9587" y="924815"/>
            <a:ext cx="9136800" cy="246221"/>
          </a:xfrm>
        </p:spPr>
        <p:txBody>
          <a:bodyPr/>
          <a:lstStyle/>
          <a:p>
            <a:r>
              <a:rPr lang="en-US" dirty="0"/>
              <a:t>Federated Learning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ABD2CC1C-BF7D-C160-5B64-51B520DD3D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587" y="1373882"/>
            <a:ext cx="9653195" cy="4741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424389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A2CF9E7C-F97B-9007-3352-44FD367BD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</a:t>
            </a:r>
            <a:br>
              <a:rPr lang="de-DE" dirty="0"/>
            </a:br>
            <a:endParaRPr lang="de-DE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44294688-FB15-94A7-EEFC-C89A1DBE79B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Simulation of FL on data from 9 different centers</a:t>
            </a:r>
          </a:p>
          <a:p>
            <a:r>
              <a:rPr lang="en-US" dirty="0"/>
              <a:t>Tooth segmentation on panoramic images (n=143 to n=1,881 per center)</a:t>
            </a:r>
          </a:p>
          <a:p>
            <a:r>
              <a:rPr lang="en-US" dirty="0"/>
              <a:t>Compared against local learning</a:t>
            </a:r>
          </a:p>
          <a:p>
            <a:r>
              <a:rPr lang="en-US" dirty="0"/>
              <a:t>8 out of 9 centers: FL outperformed local learning </a:t>
            </a:r>
          </a:p>
          <a:p>
            <a:r>
              <a:rPr lang="en-US" dirty="0"/>
              <a:t>FL outperformed local learning across all centers in generalizability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9C966F7-F42D-F1D3-0390-A804F997CD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7E898F"/>
                </a:solidFill>
                <a:effectLst/>
                <a:uLnTx/>
                <a:uFillTx/>
                <a:latin typeface="Charité Text Office"/>
                <a:ea typeface="+mn-ea"/>
                <a:cs typeface="+mn-cs"/>
              </a:rPr>
              <a:t>Oral Diagnostics, Digital Dentistry and Health Services Research 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7E898F"/>
              </a:solidFill>
              <a:effectLst/>
              <a:uLnTx/>
              <a:uFillTx/>
              <a:latin typeface="Charité Text Office"/>
              <a:ea typeface="+mn-ea"/>
              <a:cs typeface="+mn-cs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BA39351-51BC-300C-D164-1356662767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9C953F-34B1-4DD2-A3DB-3A35190EAD1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E898F"/>
                </a:solidFill>
                <a:effectLst/>
                <a:uLnTx/>
                <a:uFillTx/>
                <a:latin typeface="Charité Text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E898F"/>
              </a:solidFill>
              <a:effectLst/>
              <a:uLnTx/>
              <a:uFillTx/>
              <a:latin typeface="Charité Text Office"/>
              <a:ea typeface="+mn-ea"/>
              <a:cs typeface="+mn-cs"/>
            </a:endParaRP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C25CF419-7FD5-7BD9-70EB-C244723072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9587" y="924815"/>
            <a:ext cx="9136800" cy="246221"/>
          </a:xfrm>
        </p:spPr>
        <p:txBody>
          <a:bodyPr/>
          <a:lstStyle/>
          <a:p>
            <a:r>
              <a:rPr lang="en-US" dirty="0"/>
              <a:t>Federated Learning for Tooth Segmentation</a:t>
            </a:r>
          </a:p>
        </p:txBody>
      </p:sp>
    </p:spTree>
    <p:extLst>
      <p:ext uri="{BB962C8B-B14F-4D97-AF65-F5344CB8AC3E}">
        <p14:creationId xmlns:p14="http://schemas.microsoft.com/office/powerpoint/2010/main" val="5140315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880A65-975E-B5A5-0221-94F751AACB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notation Bottle Neck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40BC587-BF1C-E68B-35B7-B779B2CA57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rité Text Office"/>
                <a:ea typeface="+mn-ea"/>
                <a:cs typeface="+mn-cs"/>
              </a:rPr>
              <a:t>Oral Diagnostics, Digital Dentistry and Health Services Research 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arité Text Office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DA23D1-1725-7DCB-CEDA-605F6CAA455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9C953F-34B1-4DD2-A3DB-3A35190EAD1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harité Text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harité Text Office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6A4696-1888-D780-F81D-32BCDBFD44F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8802871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A2CF9E7C-F97B-9007-3352-44FD367BD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hallenge</a:t>
            </a:r>
            <a:br>
              <a:rPr lang="de-DE" dirty="0"/>
            </a:br>
            <a:endParaRPr lang="de-DE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44294688-FB15-94A7-EEFC-C89A1DBE79B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Most medical AI solution trained in a supervised manner</a:t>
            </a:r>
          </a:p>
          <a:p>
            <a:r>
              <a:rPr lang="en-US" dirty="0"/>
              <a:t>High amount of labeled data required</a:t>
            </a:r>
          </a:p>
          <a:p>
            <a:r>
              <a:rPr lang="en-US" dirty="0"/>
              <a:t>Expert needed for annotation</a:t>
            </a:r>
          </a:p>
          <a:p>
            <a:r>
              <a:rPr lang="en-US" dirty="0"/>
              <a:t>Time consuming </a:t>
            </a:r>
          </a:p>
          <a:p>
            <a:r>
              <a:rPr lang="en-US" dirty="0"/>
              <a:t>Cost intensiv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9C966F7-F42D-F1D3-0390-A804F997CD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7E898F"/>
                </a:solidFill>
                <a:effectLst/>
                <a:uLnTx/>
                <a:uFillTx/>
                <a:latin typeface="Charité Text Office"/>
                <a:ea typeface="+mn-ea"/>
                <a:cs typeface="+mn-cs"/>
              </a:rPr>
              <a:t>Oral Diagnostics, Digital Dentistry and Health Services Research 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7E898F"/>
              </a:solidFill>
              <a:effectLst/>
              <a:uLnTx/>
              <a:uFillTx/>
              <a:latin typeface="Charité Text Office"/>
              <a:ea typeface="+mn-ea"/>
              <a:cs typeface="+mn-cs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BA39351-51BC-300C-D164-1356662767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9C953F-34B1-4DD2-A3DB-3A35190EAD1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7E898F"/>
                </a:solidFill>
                <a:effectLst/>
                <a:uLnTx/>
                <a:uFillTx/>
                <a:latin typeface="Charité Text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7E898F"/>
              </a:solidFill>
              <a:effectLst/>
              <a:uLnTx/>
              <a:uFillTx/>
              <a:latin typeface="Charité Text Office"/>
              <a:ea typeface="+mn-ea"/>
              <a:cs typeface="+mn-cs"/>
            </a:endParaRP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2BACE230-9CA5-3E70-C0A9-C06D223D8C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9587" y="924815"/>
            <a:ext cx="9136800" cy="246221"/>
          </a:xfrm>
        </p:spPr>
        <p:txBody>
          <a:bodyPr/>
          <a:lstStyle/>
          <a:p>
            <a:r>
              <a:rPr lang="en-US" dirty="0"/>
              <a:t>Medical Annotation</a:t>
            </a:r>
          </a:p>
        </p:txBody>
      </p:sp>
    </p:spTree>
    <p:extLst>
      <p:ext uri="{BB962C8B-B14F-4D97-AF65-F5344CB8AC3E}">
        <p14:creationId xmlns:p14="http://schemas.microsoft.com/office/powerpoint/2010/main" val="20711302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go7.ycHTK.nckndY31pQ"/>
</p:tagLst>
</file>

<file path=ppt/theme/theme1.xml><?xml version="1.0" encoding="utf-8"?>
<a:theme xmlns:a="http://schemas.openxmlformats.org/drawingml/2006/main" name="Office 主题​​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GAI4H-R-000_PPT-Template-16x9.pptx" id="{EE62FBBD-1DFB-4F85-A153-1F32815DB8B8}" vid="{76AE4977-3825-43F0-AE2D-270D4A2CC77D}"/>
    </a:ext>
  </a:extLst>
</a:theme>
</file>

<file path=ppt/theme/theme2.xml><?xml version="1.0" encoding="utf-8"?>
<a:theme xmlns:a="http://schemas.openxmlformats.org/drawingml/2006/main" name="Charite_potx">
  <a:themeElements>
    <a:clrScheme name="Charite Designfarben">
      <a:dk1>
        <a:srgbClr val="000000"/>
      </a:dk1>
      <a:lt1>
        <a:sysClr val="window" lastClr="FFFFFF"/>
      </a:lt1>
      <a:dk2>
        <a:srgbClr val="5E676C"/>
      </a:dk2>
      <a:lt2>
        <a:srgbClr val="EA5451"/>
      </a:lt2>
      <a:accent1>
        <a:srgbClr val="002552"/>
      </a:accent1>
      <a:accent2>
        <a:srgbClr val="004D9B"/>
      </a:accent2>
      <a:accent3>
        <a:srgbClr val="0077BE"/>
      </a:accent3>
      <a:accent4>
        <a:srgbClr val="5E676C"/>
      </a:accent4>
      <a:accent5>
        <a:srgbClr val="7E898F"/>
      </a:accent5>
      <a:accent6>
        <a:srgbClr val="CBCFD2"/>
      </a:accent6>
      <a:hlink>
        <a:srgbClr val="000000"/>
      </a:hlink>
      <a:folHlink>
        <a:srgbClr val="5E676C"/>
      </a:folHlink>
    </a:clrScheme>
    <a:fontScheme name="Charite Fonts">
      <a:majorFont>
        <a:latin typeface="Charité Headline Office"/>
        <a:ea typeface=""/>
        <a:cs typeface=""/>
      </a:majorFont>
      <a:minorFont>
        <a:latin typeface="Charité Text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>
            <a:lumMod val="20000"/>
            <a:lumOff val="80000"/>
          </a:schemeClr>
        </a:solidFill>
        <a:ln>
          <a:noFill/>
        </a:ln>
      </a:spPr>
      <a:bodyPr lIns="126000" tIns="72000" rIns="126000" bIns="72000" rtlCol="0" anchor="t">
        <a:noAutofit/>
      </a:bodyPr>
      <a:lstStyle>
        <a:defPPr algn="l">
          <a:spcAft>
            <a:spcPts val="600"/>
          </a:spcAft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spcAft>
            <a:spcPts val="1200"/>
          </a:spcAft>
          <a:defRPr sz="1600" dirty="0" err="1" smtClean="0"/>
        </a:defPPr>
      </a:lstStyle>
    </a:txDef>
  </a:objectDefaults>
  <a:extraClrSchemeLst/>
  <a:custClrLst>
    <a:custClr name="FunktionsfarbeRot">
      <a:srgbClr val="D31D19"/>
    </a:custClr>
    <a:custClr name="FunktionsfarbeGruen">
      <a:srgbClr val="78AD6C"/>
    </a:custClr>
  </a:custClrLst>
  <a:extLst>
    <a:ext uri="{05A4C25C-085E-4340-85A3-A5531E510DB2}">
      <thm15:themeFamily xmlns:thm15="http://schemas.microsoft.com/office/thememl/2012/main" name="charite_ppt_template_statusJan2023" id="{DA5561E1-FD0F-A548-B076-DAF4B242A0C5}" vid="{2AF524A6-C50D-6745-BEF7-70CFD5CADC99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D863A2280E3F84C93CB7D95B3AE289B" ma:contentTypeVersion="2" ma:contentTypeDescription="Create a new document." ma:contentTypeScope="" ma:versionID="7e530ecd20c263b95f6042ee110165eb">
  <xsd:schema xmlns:xsd="http://www.w3.org/2001/XMLSchema" xmlns:xs="http://www.w3.org/2001/XMLSchema" xmlns:p="http://schemas.microsoft.com/office/2006/metadata/properties" xmlns:ns1="http://schemas.microsoft.com/sharepoint/v3" xmlns:ns2="1aaea1ea-72e4-4374-b05e-72e2f16fb7ae" targetNamespace="http://schemas.microsoft.com/office/2006/metadata/properties" ma:root="true" ma:fieldsID="55e75d33b50fbf3f19c1feb9a309975b" ns1:_="" ns2:_="">
    <xsd:import namespace="http://schemas.microsoft.com/sharepoint/v3"/>
    <xsd:import namespace="1aaea1ea-72e4-4374-b05e-72e2f16fb7ae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aea1ea-72e4-4374-b05e-72e2f16fb7a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DEFC141-1B4A-4575-A507-3A31CD3B5AC1}"/>
</file>

<file path=customXml/itemProps2.xml><?xml version="1.0" encoding="utf-8"?>
<ds:datastoreItem xmlns:ds="http://schemas.openxmlformats.org/officeDocument/2006/customXml" ds:itemID="{8D757891-533E-4B08-9CC2-432445C0232A}"/>
</file>

<file path=customXml/itemProps3.xml><?xml version="1.0" encoding="utf-8"?>
<ds:datastoreItem xmlns:ds="http://schemas.openxmlformats.org/officeDocument/2006/customXml" ds:itemID="{263EDF69-883F-4630-8D5D-47FF3AA110B2}"/>
</file>

<file path=docProps/app.xml><?xml version="1.0" encoding="utf-8"?>
<Properties xmlns="http://schemas.openxmlformats.org/officeDocument/2006/extended-properties" xmlns:vt="http://schemas.openxmlformats.org/officeDocument/2006/docPropsVTypes">
  <Template>FGAI4H-R-000_PPT-Template-16x9</Template>
  <TotalTime>4</TotalTime>
  <Words>663</Words>
  <Application>Microsoft Office PowerPoint</Application>
  <PresentationFormat>Widescreen</PresentationFormat>
  <Paragraphs>128</Paragraphs>
  <Slides>1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8" baseType="lpstr">
      <vt:lpstr>等线</vt:lpstr>
      <vt:lpstr>Arial</vt:lpstr>
      <vt:lpstr>Calibri</vt:lpstr>
      <vt:lpstr>Calibri Light</vt:lpstr>
      <vt:lpstr>Charité Headline Office</vt:lpstr>
      <vt:lpstr>Charité Headline Office Light</vt:lpstr>
      <vt:lpstr>Charité Text Office</vt:lpstr>
      <vt:lpstr>Charité Text Office Medium</vt:lpstr>
      <vt:lpstr>Office 主题​​</vt:lpstr>
      <vt:lpstr>Charite_potx</vt:lpstr>
      <vt:lpstr>think-cell Folie</vt:lpstr>
      <vt:lpstr>PowerPoint Presentation</vt:lpstr>
      <vt:lpstr>Overcoming Current Challenges in Dental Deep Learning  Martha Büttner | 21.03.2023 | Dental Symposium WHO &amp; ITU FG AI4H</vt:lpstr>
      <vt:lpstr>Agenda - Challenges</vt:lpstr>
      <vt:lpstr>Data Sharing</vt:lpstr>
      <vt:lpstr>Challenge </vt:lpstr>
      <vt:lpstr>Proposed Solution </vt:lpstr>
      <vt:lpstr>Project </vt:lpstr>
      <vt:lpstr>Annotation Bottle Neck</vt:lpstr>
      <vt:lpstr>Challenge </vt:lpstr>
      <vt:lpstr>Proposed Solution </vt:lpstr>
      <vt:lpstr>Project </vt:lpstr>
      <vt:lpstr>Missing Comparability</vt:lpstr>
      <vt:lpstr>Challenge </vt:lpstr>
      <vt:lpstr>Challenge </vt:lpstr>
      <vt:lpstr>Challenge </vt:lpstr>
      <vt:lpstr>Outlook </vt:lpstr>
      <vt:lpstr>Thank you for your attention!  Martha Büttner | martha.buettner@charite.d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tt.6 – Presentation - Overcoming Current Challenges in Dental Deep Learning</dc:title>
  <dc:creator>TSB (HT)</dc:creator>
  <cp:lastModifiedBy>TSB (HT)</cp:lastModifiedBy>
  <cp:revision>1</cp:revision>
  <cp:lastPrinted>2019-04-04T08:49:31Z</cp:lastPrinted>
  <dcterms:created xsi:type="dcterms:W3CDTF">2023-03-23T11:36:58Z</dcterms:created>
  <dcterms:modified xsi:type="dcterms:W3CDTF">2023-03-23T11:41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863A2280E3F84C93CB7D95B3AE289B</vt:lpwstr>
  </property>
</Properties>
</file>